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8"/>
  </p:notesMasterIdLst>
  <p:sldIdLst>
    <p:sldId id="258" r:id="rId2"/>
    <p:sldId id="259" r:id="rId3"/>
    <p:sldId id="299" r:id="rId4"/>
    <p:sldId id="262" r:id="rId5"/>
    <p:sldId id="294" r:id="rId6"/>
    <p:sldId id="284" r:id="rId7"/>
    <p:sldId id="307" r:id="rId8"/>
    <p:sldId id="300" r:id="rId9"/>
    <p:sldId id="301" r:id="rId10"/>
    <p:sldId id="302" r:id="rId11"/>
    <p:sldId id="303" r:id="rId12"/>
    <p:sldId id="304" r:id="rId13"/>
    <p:sldId id="305" r:id="rId14"/>
    <p:sldId id="306" r:id="rId15"/>
    <p:sldId id="274" r:id="rId16"/>
    <p:sldId id="276" r:id="rId17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766C55B1-B215-4FFD-8C34-9211309B05D8}">
          <p14:sldIdLst>
            <p14:sldId id="258"/>
            <p14:sldId id="259"/>
            <p14:sldId id="299"/>
            <p14:sldId id="262"/>
            <p14:sldId id="294"/>
            <p14:sldId id="284"/>
            <p14:sldId id="307"/>
            <p14:sldId id="300"/>
            <p14:sldId id="301"/>
            <p14:sldId id="302"/>
            <p14:sldId id="303"/>
            <p14:sldId id="304"/>
            <p14:sldId id="305"/>
            <p14:sldId id="306"/>
            <p14:sldId id="274"/>
            <p14:sldId id="27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FF"/>
    <a:srgbClr val="000000"/>
    <a:srgbClr val="FCD7C8"/>
    <a:srgbClr val="49D76E"/>
    <a:srgbClr val="FDEFE7"/>
    <a:srgbClr val="034694"/>
    <a:srgbClr val="6D6E71"/>
    <a:srgbClr val="FBE3D5"/>
    <a:srgbClr val="FCEAE0"/>
    <a:srgbClr val="0032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48" autoAdjust="0"/>
    <p:restoredTop sz="98836" autoAdjust="0"/>
  </p:normalViewPr>
  <p:slideViewPr>
    <p:cSldViewPr>
      <p:cViewPr>
        <p:scale>
          <a:sx n="80" d="100"/>
          <a:sy n="80" d="100"/>
        </p:scale>
        <p:origin x="-78" y="-72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3282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57BD61-5541-4921-B717-38473D82DCF1}" type="datetimeFigureOut">
              <a:rPr lang="ru-RU" smtClean="0"/>
              <a:pPr/>
              <a:t>15.01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71F287-7855-4B68-B190-90EFD8078E0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4041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1F287-7855-4B68-B190-90EFD8078E0A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3244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ja-JP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СНОВНЫЕ ДОСТИЖЕНИЯ – написать о наградах компании, ее сотрудников, победы в конкурсах (не про отчет). </a:t>
            </a:r>
          </a:p>
          <a:p>
            <a:r>
              <a:rPr lang="ru-RU" baseline="0" dirty="0" smtClean="0"/>
              <a:t>В п.1.2. раскрыть конкурентные преимущества продукции, компании в целом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Далее, постараться найти  и по возможности привести в каждом разделе отчета – конкурентные преимущества по данному направлению. Например, уровень з/п по сравнению со средней в регионе, или уровень выбросов по сравнению с предприятиями м/с отрасл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В разделе 2.1. раскрыть</a:t>
            </a:r>
            <a:r>
              <a:rPr lang="ru-RU" baseline="0" dirty="0" smtClean="0"/>
              <a:t> информацию о производительности труда, поскольку это экономический показатель. Раскрытие этого показателя в разделе персонал наталкивает на мысль, что это связано с сокращением сотрудников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1F287-7855-4B68-B190-90EFD8078E0A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60193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ja-JP" sz="12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П. 3.1. Результаты производственной деятельности по целевым</a:t>
            </a:r>
            <a:r>
              <a:rPr lang="ru-RU" altLang="ja-JP" sz="1200" i="1" kern="1200" baseline="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 бизнес-направлениям </a:t>
            </a:r>
            <a:endParaRPr lang="ru-RU" altLang="ja-JP" sz="1200" i="1" kern="1200" dirty="0" smtClean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1F287-7855-4B68-B190-90EFD8078E0A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7255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п.7.1</a:t>
            </a:r>
            <a:r>
              <a:rPr lang="ru-RU" baseline="0" dirty="0" smtClean="0"/>
              <a:t> добавить текучесть. </a:t>
            </a:r>
          </a:p>
          <a:p>
            <a:r>
              <a:rPr lang="ru-RU" baseline="0" dirty="0" smtClean="0"/>
              <a:t>П.7.2. по-другому назвать. Добавить информацию о конкурентоспособной з/п (сравнение средней в регионе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ja-JP" sz="12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8.1. Социальные проекты на территориях присутствия – именно про это в разделе 08.1. отчета за 2017 год.</a:t>
            </a:r>
            <a:r>
              <a:rPr lang="ru-RU" altLang="ja-JP" sz="1200" i="1" kern="1200" baseline="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 </a:t>
            </a:r>
            <a:endParaRPr lang="ru-RU" altLang="ja-JP" sz="1200" i="1" kern="1200" dirty="0" smtClean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endParaRPr lang="ru-RU" baseline="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1F287-7855-4B68-B190-90EFD8078E0A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6126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1F287-7855-4B68-B190-90EFD8078E0A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6375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корректировать</a:t>
            </a:r>
            <a:r>
              <a:rPr lang="ru-RU" baseline="0" dirty="0" smtClean="0"/>
              <a:t> даты с учетом новых сроков </a:t>
            </a:r>
            <a:r>
              <a:rPr lang="ru-RU" baseline="0" dirty="0" err="1" smtClean="0"/>
              <a:t>Госкорпорации</a:t>
            </a:r>
            <a:r>
              <a:rPr lang="ru-RU" baseline="0" dirty="0" smtClean="0"/>
              <a:t> «</a:t>
            </a:r>
            <a:r>
              <a:rPr lang="ru-RU" baseline="0" dirty="0" err="1" smtClean="0"/>
              <a:t>Росатом</a:t>
            </a:r>
            <a:r>
              <a:rPr lang="ru-RU" baseline="0" dirty="0" smtClean="0"/>
              <a:t>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1F287-7855-4B68-B190-90EFD8078E0A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65874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корректировать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1F287-7855-4B68-B190-90EFD8078E0A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1485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785669" y="2131200"/>
            <a:ext cx="6835405" cy="2017880"/>
          </a:xfrm>
          <a:ln/>
        </p:spPr>
        <p:txBody>
          <a:bodyPr anchor="t" anchorCtr="0"/>
          <a:lstStyle>
            <a:lvl1pPr>
              <a:lnSpc>
                <a:spcPts val="4000"/>
              </a:lnSpc>
              <a:defRPr sz="4000" b="0">
                <a:solidFill>
                  <a:srgbClr val="003274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784226" y="4503600"/>
            <a:ext cx="3743325" cy="1013632"/>
          </a:xfrm>
          <a:ln/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baseline="0">
                <a:solidFill>
                  <a:srgbClr val="58595B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Ф.И.О. </a:t>
            </a:r>
            <a:r>
              <a:rPr lang="en-US" dirty="0" smtClean="0"/>
              <a:t> </a:t>
            </a:r>
            <a:r>
              <a:rPr lang="ru-RU" dirty="0" smtClean="0"/>
              <a:t>Должность. </a:t>
            </a:r>
            <a:r>
              <a:rPr lang="en-US" dirty="0" smtClean="0"/>
              <a:t> </a:t>
            </a:r>
            <a:r>
              <a:rPr lang="ru-RU" dirty="0" smtClean="0"/>
              <a:t>Дата</a:t>
            </a:r>
            <a:endParaRPr lang="ru-RU" dirty="0"/>
          </a:p>
        </p:txBody>
      </p:sp>
      <p:pic>
        <p:nvPicPr>
          <p:cNvPr id="1026" name="Picture 2" descr="D:\Work\Атомэнергомаш\Презентация\PowerPoint\Elеment\Logo_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079" y="714826"/>
            <a:ext cx="3851275" cy="796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273050"/>
            <a:ext cx="2925961" cy="1162050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39552" y="1435100"/>
            <a:ext cx="2925961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9552" y="0"/>
            <a:ext cx="6167437" cy="6273800"/>
          </a:xfrm>
        </p:spPr>
        <p:txBody>
          <a:bodyPr vert="eaVert"/>
          <a:lstStyle>
            <a:lvl1pPr marL="0" indent="0">
              <a:buNone/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539552" y="1143000"/>
            <a:ext cx="8071048" cy="4419600"/>
          </a:xfrm>
        </p:spPr>
        <p:txBody>
          <a:bodyPr/>
          <a:lstStyle>
            <a:lvl1pPr marL="0" indent="0">
              <a:buNone/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Типовая страница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повая страница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2"/>
          <p:cNvSpPr>
            <a:spLocks noGrp="1"/>
          </p:cNvSpPr>
          <p:nvPr>
            <p:ph idx="10" hasCustomPrompt="1"/>
          </p:nvPr>
        </p:nvSpPr>
        <p:spPr>
          <a:xfrm>
            <a:off x="3059832" y="6406266"/>
            <a:ext cx="5184576" cy="423735"/>
          </a:xfrm>
        </p:spPr>
        <p:txBody>
          <a:bodyPr/>
          <a:lstStyle>
            <a:lvl1pPr marL="0" indent="0" algn="r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6D6E71"/>
                </a:solidFill>
              </a:defRPr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Заголовок следующего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34486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траница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478086" y="6308165"/>
            <a:ext cx="649288" cy="36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l"/>
            <a:fld id="{67444053-37ED-4C83-9461-6EED27EE394C}" type="slidenum">
              <a:rPr lang="ru-RU" sz="2000" smtClean="0">
                <a:solidFill>
                  <a:srgbClr val="034694"/>
                </a:solidFill>
                <a:latin typeface="Calibri" pitchFamily="34" charset="0"/>
              </a:rPr>
              <a:pPr algn="l"/>
              <a:t>‹#›</a:t>
            </a:fld>
            <a:endParaRPr lang="ru-RU" sz="2000" dirty="0">
              <a:solidFill>
                <a:srgbClr val="034694"/>
              </a:solidFill>
              <a:latin typeface="Calibri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1838505" y="2154986"/>
            <a:ext cx="6639581" cy="1625216"/>
          </a:xfrm>
        </p:spPr>
        <p:txBody>
          <a:bodyPr tIns="0" bIns="0"/>
          <a:lstStyle>
            <a:lvl1pPr>
              <a:lnSpc>
                <a:spcPts val="4000"/>
              </a:lnSpc>
              <a:defRPr sz="4000">
                <a:solidFill>
                  <a:srgbClr val="003274"/>
                </a:solidFill>
              </a:defRPr>
            </a:lvl1pPr>
          </a:lstStyle>
          <a:p>
            <a:r>
              <a:rPr lang="ru-RU" dirty="0" smtClean="0"/>
              <a:t>Заголовок раздела</a:t>
            </a:r>
            <a:endParaRPr lang="ru-RU" dirty="0"/>
          </a:p>
        </p:txBody>
      </p:sp>
      <p:pic>
        <p:nvPicPr>
          <p:cNvPr id="2051" name="Picture 3" descr="D:\Work\Атомэнергомаш\Презентация\PowerPoint\Elеment\Logo_03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8098" y="6358774"/>
            <a:ext cx="1773238" cy="35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D:\Work\Атомэнергомаш\Презентация\PowerPoint\Elеment\page_02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371" y="2106662"/>
            <a:ext cx="742951" cy="369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4896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4406900"/>
            <a:ext cx="7955161" cy="1362075"/>
          </a:xfrm>
        </p:spPr>
        <p:txBody>
          <a:bodyPr anchor="t"/>
          <a:lstStyle>
            <a:lvl1pPr algn="l">
              <a:defRPr sz="4000" b="0" cap="all">
                <a:solidFill>
                  <a:srgbClr val="003274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9552" y="2906713"/>
            <a:ext cx="795516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58595B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9552" y="1125538"/>
            <a:ext cx="4064198" cy="5039766"/>
          </a:xfrm>
        </p:spPr>
        <p:txBody>
          <a:bodyPr/>
          <a:lstStyle>
            <a:lvl1pPr marL="0" indent="0"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039766"/>
          </a:xfrm>
        </p:spPr>
        <p:txBody>
          <a:bodyPr/>
          <a:lstStyle>
            <a:lvl1pPr marL="0" indent="0"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5600" y="147600"/>
            <a:ext cx="8366400" cy="8748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11560" y="1535113"/>
            <a:ext cx="3885828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1560" y="2174875"/>
            <a:ext cx="3885828" cy="3951288"/>
          </a:xfrm>
        </p:spPr>
        <p:txBody>
          <a:bodyPr/>
          <a:lstStyle>
            <a:lvl1pPr marL="0" indent="0">
              <a:buNone/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000">
                <a:latin typeface="Calibri" pitchFamily="34" charset="0"/>
                <a:cs typeface="Calibri" pitchFamily="34" charset="0"/>
              </a:defRPr>
            </a:lvl2pPr>
            <a:lvl3pPr>
              <a:defRPr sz="18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 marL="0" indent="0">
              <a:buNone/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000">
                <a:latin typeface="Calibri" pitchFamily="34" charset="0"/>
                <a:cs typeface="Calibri" pitchFamily="34" charset="0"/>
              </a:defRPr>
            </a:lvl2pPr>
            <a:lvl3pPr>
              <a:defRPr sz="18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551" y="1125538"/>
            <a:ext cx="8353623" cy="49677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26503" y="147600"/>
            <a:ext cx="8365977" cy="87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Заголовок слайд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34422" y="6308165"/>
            <a:ext cx="649288" cy="36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r"/>
            <a:fld id="{67444053-37ED-4C83-9461-6EED27EE394C}" type="slidenum">
              <a:rPr lang="ru-RU" sz="2000" smtClean="0">
                <a:solidFill>
                  <a:srgbClr val="003274"/>
                </a:solidFill>
                <a:latin typeface="Calibri" pitchFamily="34" charset="0"/>
              </a:rPr>
              <a:pPr algn="r"/>
              <a:t>‹#›</a:t>
            </a:fld>
            <a:endParaRPr lang="ru-RU" sz="2000" dirty="0">
              <a:solidFill>
                <a:srgbClr val="003274"/>
              </a:solidFill>
              <a:latin typeface="Calibri" pitchFamily="34" charset="0"/>
            </a:endParaRPr>
          </a:p>
        </p:txBody>
      </p:sp>
      <p:pic>
        <p:nvPicPr>
          <p:cNvPr id="3074" name="Picture 2" descr="D:\Work\Атомэнергомаш\Презентация\PowerPoint\Elеment\page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3042" y="6336789"/>
            <a:ext cx="639763" cy="31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D:\Work\Атомэнергомаш\Презентация\PowerPoint\Elеment\Logo_02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6367306"/>
            <a:ext cx="1733550" cy="35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539552" y="1013980"/>
            <a:ext cx="8604448" cy="0"/>
          </a:xfrm>
          <a:prstGeom prst="line">
            <a:avLst/>
          </a:prstGeom>
          <a:ln w="12700">
            <a:solidFill>
              <a:srgbClr val="0032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539552" y="6237312"/>
            <a:ext cx="8604448" cy="0"/>
          </a:xfrm>
          <a:prstGeom prst="line">
            <a:avLst/>
          </a:prstGeom>
          <a:ln w="127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8" r:id="rId3"/>
    <p:sldLayoutId id="2147483677" r:id="rId4"/>
    <p:sldLayoutId id="2147483667" r:id="rId5"/>
    <p:sldLayoutId id="2147483663" r:id="rId6"/>
    <p:sldLayoutId id="2147483664" r:id="rId7"/>
    <p:sldLayoutId id="2147483665" r:id="rId8"/>
    <p:sldLayoutId id="2147483666" r:id="rId9"/>
    <p:sldLayoutId id="2147483668" r:id="rId10"/>
    <p:sldLayoutId id="2147483669" r:id="rId11"/>
    <p:sldLayoutId id="2147483670" r:id="rId12"/>
    <p:sldLayoutId id="2147483671" r:id="rId13"/>
    <p:sldLayoutId id="2147483676" r:id="rId1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>
          <a:solidFill>
            <a:srgbClr val="003274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None/>
        <a:defRPr sz="14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360363" indent="-177800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1162050" indent="-268288" algn="l" rtl="0" eaLnBrk="1" fontAlgn="base" hangingPunct="1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aem@aem-group.ru" TargetMode="Externa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755576" y="2131200"/>
            <a:ext cx="7865499" cy="2017880"/>
          </a:xfrm>
        </p:spPr>
        <p:txBody>
          <a:bodyPr/>
          <a:lstStyle/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Концепция </a:t>
            </a:r>
            <a:b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интегрированного годового отчета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АО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томэнергомаш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» за 2018 год</a:t>
            </a:r>
            <a:endParaRPr lang="ru-R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одзаголовок 6"/>
          <p:cNvSpPr>
            <a:spLocks noGrp="1"/>
          </p:cNvSpPr>
          <p:nvPr>
            <p:ph type="subTitle" idx="1"/>
          </p:nvPr>
        </p:nvSpPr>
        <p:spPr>
          <a:xfrm>
            <a:off x="755576" y="4725144"/>
            <a:ext cx="3743325" cy="1013632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ирекция по атомной энергетике и новым бизнесам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67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VI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ВОЗДЕЙСТВИЕ НА ОКРУЖАЮЩУЮ СРЕДУ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6.1. Экологический менеджмент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6.2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Выбросы и отходы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VII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УПРАВЛЕНИЕ ПЕРСОНАЛОМ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7.1. Кадровый состав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7.2.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Мотивация и социальная политика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7.3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Здоровье и безопасность на рабочем месте  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7.4.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Программы развития персонала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VIII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ВЗАИМОДЕЙСТВИЕ 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 ЗАИНТЕРЕСОВАННЫМИ СТОРОНАМИ 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8.1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Социальная политика и благотворительность на территориях присутствия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8.2.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Внешние коммуникации и корпоративный </a:t>
            </a:r>
            <a:r>
              <a:rPr lang="ru-RU" altLang="ja-JP" sz="1100" i="1" kern="1200" dirty="0" err="1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брендинг</a:t>
            </a:r>
            <a:endParaRPr lang="ru-RU" altLang="ja-JP" sz="1100" i="1" kern="1200" dirty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8.3.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Внутрикорпоративные коммуникации</a:t>
            </a:r>
          </a:p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/>
              <a:t>СТРУКТУРА ОТЧЕТА </a:t>
            </a:r>
            <a:r>
              <a:rPr lang="ru-RU" dirty="0" smtClean="0"/>
              <a:t>(4 </a:t>
            </a:r>
            <a:r>
              <a:rPr lang="ru-RU" dirty="0"/>
              <a:t>из 4)</a:t>
            </a:r>
          </a:p>
          <a:p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СТРУКТУРА ОТЧЕТА </a:t>
            </a:r>
            <a:r>
              <a:rPr lang="ru-RU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(3 </a:t>
            </a:r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из 4)</a:t>
            </a:r>
            <a:b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6596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9551" y="765498"/>
            <a:ext cx="8353623" cy="4967758"/>
          </a:xfrm>
        </p:spPr>
        <p:txBody>
          <a:bodyPr/>
          <a:lstStyle/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endParaRPr lang="ru-RU" altLang="ja-JP" b="1" kern="1200" dirty="0" smtClean="0">
              <a:solidFill>
                <a:prstClr val="black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ПРИЛОЖЕНИЯ</a:t>
            </a:r>
            <a:endParaRPr lang="en-US" altLang="ja-JP" b="1" kern="1200" dirty="0" smtClean="0">
              <a:solidFill>
                <a:prstClr val="black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endParaRPr lang="ru-RU" altLang="ja-JP" b="1" kern="1200" dirty="0" smtClean="0">
              <a:solidFill>
                <a:prstClr val="black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/>
              <a:t>УЧЕТ РЕКОМЕНДАЦИЙ ОТЧЕТНОЙ КАМПАНИИ 2017 ГОДА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94278"/>
              </p:ext>
            </p:extLst>
          </p:nvPr>
        </p:nvGraphicFramePr>
        <p:xfrm>
          <a:off x="755576" y="1628800"/>
          <a:ext cx="7344816" cy="3528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64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5283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. Глоссарий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2. Информация об отчет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3</a:t>
                      </a: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. Указатель </a:t>
                      </a:r>
                      <a:r>
                        <a:rPr kumimoji="0" lang="en-US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GRI S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4. Бухгалтерская отчетность АО «</a:t>
                      </a:r>
                      <a:r>
                        <a:rPr kumimoji="0" lang="ru-RU" altLang="ja-JP" sz="11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Атомэнергомаш</a:t>
                      </a: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5. Комбинированная бухгалтерская отчетност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6. Аудиторское заключение по бухгалтерской (финансовой) отчетност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7. Отчет о результатах анализа комбинированной бухгалтерской отчетности</a:t>
                      </a:r>
                    </a:p>
                    <a:p>
                      <a:pPr algn="l"/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8. Заключение о нефинансовом заверени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9. Заключение об общественном заверени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0</a:t>
                      </a:r>
                      <a:r>
                        <a:rPr kumimoji="0" lang="en-US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.</a:t>
                      </a: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 Учет мнений заинтересованных сторон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</a:t>
                      </a:r>
                      <a:r>
                        <a:rPr kumimoji="0" lang="en-US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</a:t>
                      </a: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. Ключевые факторы рисков по видам капиталов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КОНТАКТНАЯ ИНФОРМАЦИЯ</a:t>
                      </a:r>
                    </a:p>
                    <a:p>
                      <a:pPr algn="l"/>
                      <a:endParaRPr lang="ru-RU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СТРУКТУРА ОТЧЕТА </a:t>
            </a:r>
            <a:r>
              <a:rPr lang="ru-RU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(4 </a:t>
            </a:r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из 4)</a:t>
            </a:r>
            <a:b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05826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idx="10"/>
          </p:nvPr>
        </p:nvSpPr>
        <p:spPr>
          <a:xfrm>
            <a:off x="3059832" y="6406267"/>
            <a:ext cx="5184576" cy="263094"/>
          </a:xfrm>
        </p:spPr>
        <p:txBody>
          <a:bodyPr/>
          <a:lstStyle/>
          <a:p>
            <a:r>
              <a:rPr lang="ru-RU" dirty="0"/>
              <a:t>УЧЕТ РЕКОМЕНДАЦИЙ ТЕКУЩЕЙ ОТЧЕТНОЙ КАМПАНИИ </a:t>
            </a:r>
            <a:r>
              <a:rPr lang="ru-RU" dirty="0" smtClean="0"/>
              <a:t>(2 </a:t>
            </a:r>
            <a:r>
              <a:rPr lang="ru-RU" dirty="0"/>
              <a:t>из 2)</a:t>
            </a: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82308221"/>
              </p:ext>
            </p:extLst>
          </p:nvPr>
        </p:nvGraphicFramePr>
        <p:xfrm>
          <a:off x="405880" y="1052736"/>
          <a:ext cx="8496944" cy="5033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141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1786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33556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№</a:t>
                      </a:r>
                      <a:r>
                        <a:rPr lang="ru-RU" sz="1400" baseline="0" dirty="0" smtClean="0">
                          <a:latin typeface="+mn-lt"/>
                        </a:rPr>
                        <a:t> п/п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Рекомендация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Реакция Компании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33968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 b="0" i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АО «</a:t>
                      </a:r>
                      <a:r>
                        <a:rPr lang="ru-RU" sz="1100" b="0" i="1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Атомэнергомаш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» не проводило ни одного очного диалога за последние 3 года. Рекомендуется провести как минимум один очный диалог в ходе отчетной кампании.</a:t>
                      </a: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Отклонено</a:t>
                      </a:r>
                      <a:r>
                        <a:rPr lang="ru-RU" sz="1100" b="0" i="1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в связи с отсутствием такой необходимости. Получение обратной связи от ЗС будет осуществляться в заочном формате</a:t>
                      </a:r>
                      <a:endParaRPr lang="ru-RU" sz="1100" b="0" i="1" dirty="0" smtClean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8046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2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 подробнее раскрыть информацию о взаимодействии Общества с заинтересованными сторонами в ходе подготовки Отчета.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Будет учтено</a:t>
                      </a: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9504">
                <a:tc>
                  <a:txBody>
                    <a:bodyPr/>
                    <a:lstStyle/>
                    <a:p>
                      <a:r>
                        <a:rPr lang="ru-RU" sz="1100" b="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</a:t>
                      </a:r>
                      <a:endParaRPr lang="ru-RU" sz="1100" b="0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сохранить выпуск краткой и/или интерактивной версии отчета (например, краткую версию можно готовить только в электронном виде, без тиража).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Будет учтено частично. На сайте будет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опубликована расширенная версия </a:t>
                      </a:r>
                      <a:r>
                        <a:rPr lang="en-US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smart-pdf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 и </a:t>
                      </a:r>
                      <a:r>
                        <a:rPr lang="ru-RU" sz="1100" b="0" i="1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интерактив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.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Краткая версия Отчета за 2018 год не будет превышать объема в 110 страниц, что делает нецелесообразным подготовку краткой версии Отчета.</a:t>
                      </a: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30936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endParaRPr lang="ru-RU" sz="1100" b="0" i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 дополнить информацию о подходах к определению вознаграждения менеджмента.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Отклонено в связи с отсутствием</a:t>
                      </a:r>
                      <a:r>
                        <a:rPr lang="ru-RU" sz="1100" b="0" i="1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дополнительной информации по данному показателю</a:t>
                      </a:r>
                      <a:endParaRPr lang="ru-RU" sz="1100" b="0" i="1" dirty="0" smtClean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84434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5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 изучить критерии исследования </a:t>
                      </a:r>
                      <a:r>
                        <a:rPr lang="ru-RU" sz="1100" b="0" i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Трансперенси</a:t>
                      </a: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и по возможности дополнить Отчет с их учетом: https://transparency.org.ru/special/trac2018russia/docs/report-ru.pdf.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По</a:t>
                      </a:r>
                      <a:r>
                        <a:rPr lang="ru-RU" sz="1100" b="0" i="1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возможности будет </a:t>
                      </a: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учтено</a:t>
                      </a: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71290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6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ключить в раздел «Ключевые события» Отчет больше событий в области Устойчивого развития.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Будет учтено</a:t>
                      </a: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УЧЕТ РЕКОМЕНДАЦИЙ </a:t>
            </a:r>
            <a:r>
              <a:rPr lang="ru-RU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ОТЧЕТНОЙ КАМПАНИИ 2017 ГОДА </a:t>
            </a:r>
          </a:p>
          <a:p>
            <a:r>
              <a:rPr lang="ru-RU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(1 из 2)</a:t>
            </a:r>
            <a:endParaRPr lang="ru-RU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6476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УЧЕТ РЕКОМЕНДАЦИЙ ТЕКУЩЕЙ ОТЧЕТНОЙ </a:t>
            </a:r>
            <a:r>
              <a:rPr lang="ru-RU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КАМПАНИИ</a:t>
            </a:r>
          </a:p>
          <a:p>
            <a:r>
              <a:rPr lang="ru-RU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(2 </a:t>
            </a:r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из 2)</a:t>
            </a:r>
          </a:p>
          <a:p>
            <a:endParaRPr lang="ru-RU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1646815"/>
              </p:ext>
            </p:extLst>
          </p:nvPr>
        </p:nvGraphicFramePr>
        <p:xfrm>
          <a:off x="416224" y="1124744"/>
          <a:ext cx="8352928" cy="4288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336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91723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№</a:t>
                      </a:r>
                      <a:r>
                        <a:rPr lang="ru-RU" sz="1400" baseline="0" dirty="0" smtClean="0">
                          <a:latin typeface="+mn-lt"/>
                        </a:rPr>
                        <a:t> п/п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Рекомендация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Реакция Компании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  <a:cs typeface="Times New Roman" panose="02020603050405020304" pitchFamily="18" charset="0"/>
                        </a:rPr>
                        <a:t>7</a:t>
                      </a:r>
                      <a:endParaRPr lang="ru-RU" sz="1100" b="0" i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 части разделов «Ответственное потребление и производство» и «Инновационное развитие» рекомендуется отражать больше информации и данных, которые говорят о вкладе Компании в выполнение Целей устойчивого развития.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Будет учтено</a:t>
                      </a:r>
                    </a:p>
                  </a:txBody>
                  <a:tcPr marL="68580" marR="6858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 b="0" i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 </a:t>
                      </a: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крывать больше информации, касающейся планов развития Компании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Будет учтено</a:t>
                      </a: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92868100"/>
                  </a:ext>
                </a:extLst>
              </a:tr>
              <a:tr h="368046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9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 отразить результаты/планы реструктуризации Дивизиона.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Будет учтено</a:t>
                      </a: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9504">
                <a:tc>
                  <a:txBody>
                    <a:bodyPr/>
                    <a:lstStyle/>
                    <a:p>
                      <a:r>
                        <a:rPr lang="ru-RU" sz="1100" b="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0</a:t>
                      </a:r>
                      <a:endParaRPr lang="ru-RU" sz="1100" b="0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 дополнить Отчет информацией о НИОКР, выполняемых вузами, входящими в консорциум опорных вузов </a:t>
                      </a:r>
                      <a:r>
                        <a:rPr lang="ru-RU" sz="1100" b="0" i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Госкорпорации</a:t>
                      </a: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b="0" i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осатом</a:t>
                      </a: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по договорам с предприятиями Дивизиона (количество договоров, объем финансирования).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Будет учтено</a:t>
                      </a: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20266">
                <a:tc>
                  <a:txBody>
                    <a:bodyPr/>
                    <a:lstStyle/>
                    <a:p>
                      <a:r>
                        <a:rPr lang="ru-RU" sz="1100" b="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1</a:t>
                      </a:r>
                      <a:endParaRPr lang="ru-RU" sz="1100" b="0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смотреть возможность раскрытия количественного или качественного сравнения результатов в сравнении с компаниями-конкурентами на международном рынке.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По</a:t>
                      </a:r>
                      <a:r>
                        <a:rPr lang="ru-RU" sz="1100" b="0" i="1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возможности будет </a:t>
                      </a: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учтено</a:t>
                      </a: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9504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12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 участвовать в международных конкурсах IR </a:t>
                      </a:r>
                      <a:r>
                        <a:rPr lang="ru-RU" sz="1100" b="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Society</a:t>
                      </a:r>
                      <a:r>
                        <a:rPr lang="ru-RU" sz="11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и </a:t>
                      </a:r>
                      <a:r>
                        <a:rPr lang="ru-RU" sz="1100" b="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Report</a:t>
                      </a:r>
                      <a:r>
                        <a:rPr lang="ru-RU" sz="1100" b="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b="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Watch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По</a:t>
                      </a:r>
                      <a:r>
                        <a:rPr lang="ru-RU" sz="1100" b="0" i="1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возможности будет принято участие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8" name="Объект 3"/>
          <p:cNvSpPr>
            <a:spLocks noGrp="1"/>
          </p:cNvSpPr>
          <p:nvPr>
            <p:ph idx="10"/>
          </p:nvPr>
        </p:nvSpPr>
        <p:spPr>
          <a:xfrm>
            <a:off x="3059832" y="6406267"/>
            <a:ext cx="5184576" cy="263094"/>
          </a:xfrm>
        </p:spPr>
        <p:txBody>
          <a:bodyPr/>
          <a:lstStyle/>
          <a:p>
            <a:r>
              <a:rPr lang="ru-RU" dirty="0"/>
              <a:t>ГОДОВОЙ ГРАФИК РАБОТ ПО ПУБЛИЧНОЙ ОТЧЕТНОСТИ</a:t>
            </a:r>
          </a:p>
        </p:txBody>
      </p:sp>
    </p:spTree>
    <p:extLst>
      <p:ext uri="{BB962C8B-B14F-4D97-AF65-F5344CB8AC3E}">
        <p14:creationId xmlns:p14="http://schemas.microsoft.com/office/powerpoint/2010/main" val="207411155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0"/>
            <p:extLst>
              <p:ext uri="{D42A27DB-BD31-4B8C-83A1-F6EECF244321}">
                <p14:modId xmlns:p14="http://schemas.microsoft.com/office/powerpoint/2010/main" val="1290761202"/>
              </p:ext>
            </p:extLst>
          </p:nvPr>
        </p:nvGraphicFramePr>
        <p:xfrm>
          <a:off x="539553" y="1052736"/>
          <a:ext cx="8424935" cy="51531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103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008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31236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43423">
                <a:tc>
                  <a:txBody>
                    <a:bodyPr/>
                    <a:lstStyle/>
                    <a:p>
                      <a:pPr algn="l"/>
                      <a:r>
                        <a:rPr lang="ru-RU" sz="1400" b="1" i="0" dirty="0" smtClean="0">
                          <a:latin typeface="Arial" pitchFamily="34" charset="0"/>
                          <a:cs typeface="Arial" pitchFamily="34" charset="0"/>
                        </a:rPr>
                        <a:t>Этапы работ</a:t>
                      </a:r>
                      <a:endParaRPr lang="ru-RU" sz="1400" b="1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i="0" dirty="0" smtClean="0">
                          <a:latin typeface="Arial" pitchFamily="34" charset="0"/>
                          <a:cs typeface="Arial" pitchFamily="34" charset="0"/>
                        </a:rPr>
                        <a:t>Сроки</a:t>
                      </a:r>
                      <a:endParaRPr lang="ru-RU" sz="1400" b="1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i="0" dirty="0" smtClean="0">
                          <a:latin typeface="Arial" pitchFamily="34" charset="0"/>
                          <a:cs typeface="Arial" pitchFamily="34" charset="0"/>
                        </a:rPr>
                        <a:t>Этапы работ</a:t>
                      </a:r>
                      <a:endParaRPr lang="ru-RU" sz="1400" b="1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i="0" dirty="0" smtClean="0">
                          <a:latin typeface="Arial" pitchFamily="34" charset="0"/>
                          <a:cs typeface="Arial" pitchFamily="34" charset="0"/>
                        </a:rPr>
                        <a:t>Сроки</a:t>
                      </a:r>
                      <a:endParaRPr lang="ru-RU" sz="1400" b="1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4649"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кспертиза концепции ПГО Раб. группой ГК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6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11.18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ведение заочных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щественных консультаций по проекту ПГО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5.0</a:t>
                      </a:r>
                      <a:r>
                        <a:rPr lang="en-US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19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515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гласование Концепции ПГО Комитетом АЭМ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i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0.11.18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учение Заключения внутреннего и независимого аудитора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0.04.19</a:t>
                      </a:r>
                      <a:endParaRPr lang="ru-RU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8600"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ведение заочного диалога с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ЗС</a:t>
                      </a:r>
                      <a:endParaRPr lang="ru-RU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15.12.18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едставление ПГО для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дварительного утверждения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Генеральным директором</a:t>
                      </a:r>
                      <a:endParaRPr lang="ru-RU" sz="12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0</a:t>
                      </a:r>
                      <a:r>
                        <a:rPr lang="en-US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05.19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1201"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ирование аннотированного содержания ПГО</a:t>
                      </a:r>
                      <a:endParaRPr lang="ru-RU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1.12.18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тверждение ПГО Советом директоров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15.05.19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805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тверждение приказа о подготовке ПГО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8.12.18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ественное заверение ПГО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15.05.19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48057"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учение информации от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одразделений и ОКУ</a:t>
                      </a:r>
                      <a:endParaRPr lang="ru-RU" sz="12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2.02.19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ыпуск </a:t>
                      </a:r>
                      <a:r>
                        <a:rPr lang="ru-RU" sz="1200" b="0" i="1" kern="12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идеопрезентации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на русском и английском языках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0.05.19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89711"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рганизация работы с подрядчиками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1.03.19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ерстка и печать русской версии ПГО и размещение на сайте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31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05.19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дготовка проекта ПГО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1.03.19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евод и размещение на сайте английской версии ПГО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10.06.19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4342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кспертиза проекта ПГО Рабочей группой ГК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12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04.19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змещение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на сайте интерактивной версии ПГО и мобильного приложения</a:t>
                      </a:r>
                      <a:endParaRPr lang="ru-RU" sz="12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0.10.19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2808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тверждение отчета Комитетом ПГО АЭМ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en-US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04.19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вижение ПГО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0.11.19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4" name="Объект 3"/>
          <p:cNvSpPr>
            <a:spLocks noGrp="1"/>
          </p:cNvSpPr>
          <p:nvPr>
            <p:ph idx="10"/>
          </p:nvPr>
        </p:nvSpPr>
        <p:spPr>
          <a:xfrm>
            <a:off x="3059832" y="6406266"/>
            <a:ext cx="5184576" cy="423735"/>
          </a:xfrm>
        </p:spPr>
        <p:txBody>
          <a:bodyPr/>
          <a:lstStyle/>
          <a:p>
            <a:r>
              <a:rPr lang="ru-RU" dirty="0" smtClean="0"/>
              <a:t>ПЛАН ПРОДВИЖЕНИЯ ОТЧЕТА</a:t>
            </a:r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ГОДОВОЙ ГРАФИК РАБОТ ПО ПУБЛИЧНОЙ ОТЧЕТНОСТИ</a:t>
            </a:r>
            <a:b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98042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269721" y="980728"/>
            <a:ext cx="23042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err="1" smtClean="0">
                <a:solidFill>
                  <a:schemeClr val="tx2">
                    <a:lumMod val="75000"/>
                  </a:schemeClr>
                </a:solidFill>
              </a:rPr>
              <a:t>Директ</a:t>
            </a:r>
            <a:r>
              <a:rPr lang="ru-RU" sz="1600" b="1" u="sng" dirty="0" smtClean="0">
                <a:solidFill>
                  <a:schemeClr val="tx2">
                    <a:lumMod val="75000"/>
                  </a:schemeClr>
                </a:solidFill>
              </a:rPr>
              <a:t>-маркетинг</a:t>
            </a:r>
            <a:endParaRPr lang="ru-RU" sz="1600" b="1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940152" y="980728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smtClean="0">
                <a:solidFill>
                  <a:schemeClr val="tx2">
                    <a:lumMod val="75000"/>
                  </a:schemeClr>
                </a:solidFill>
              </a:rPr>
              <a:t>Презентация</a:t>
            </a:r>
            <a:endParaRPr lang="ru-RU" sz="1600" b="1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AutoShape 8"/>
          <p:cNvSpPr>
            <a:spLocks noChangeArrowheads="1"/>
          </p:cNvSpPr>
          <p:nvPr/>
        </p:nvSpPr>
        <p:spPr bwMode="auto">
          <a:xfrm>
            <a:off x="280385" y="1287532"/>
            <a:ext cx="2472313" cy="7920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ылка информационного письма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 публикации Отчета заинтересованным сторонам и общественным заверителям</a:t>
            </a:r>
          </a:p>
        </p:txBody>
      </p:sp>
      <p:sp>
        <p:nvSpPr>
          <p:cNvPr id="8" name="AutoShape 8"/>
          <p:cNvSpPr>
            <a:spLocks noChangeArrowheads="1"/>
          </p:cNvSpPr>
          <p:nvPr/>
        </p:nvSpPr>
        <p:spPr bwMode="auto">
          <a:xfrm>
            <a:off x="2836168" y="1287532"/>
            <a:ext cx="1519808" cy="7920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нь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AutoShape 8"/>
          <p:cNvSpPr>
            <a:spLocks noChangeArrowheads="1"/>
          </p:cNvSpPr>
          <p:nvPr/>
        </p:nvSpPr>
        <p:spPr bwMode="auto">
          <a:xfrm>
            <a:off x="280384" y="2151628"/>
            <a:ext cx="2472313" cy="7370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ылка Отчета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тавителям заинтересованных сторон и общественным заверителям </a:t>
            </a:r>
          </a:p>
        </p:txBody>
      </p:sp>
      <p:sp>
        <p:nvSpPr>
          <p:cNvPr id="10" name="AutoShape 8"/>
          <p:cNvSpPr>
            <a:spLocks noChangeArrowheads="1"/>
          </p:cNvSpPr>
          <p:nvPr/>
        </p:nvSpPr>
        <p:spPr bwMode="auto">
          <a:xfrm>
            <a:off x="2836168" y="2151627"/>
            <a:ext cx="1519808" cy="7370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нь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utoShape 8"/>
          <p:cNvSpPr>
            <a:spLocks noChangeArrowheads="1"/>
          </p:cNvSpPr>
          <p:nvPr/>
        </p:nvSpPr>
        <p:spPr bwMode="auto">
          <a:xfrm>
            <a:off x="4571999" y="1287532"/>
            <a:ext cx="2985457" cy="79208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сс-релиз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официальном сайте и в социальной сети 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book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икация </a:t>
            </a:r>
            <a:r>
              <a:rPr lang="ru-RU" sz="12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опрезентации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2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охостинге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tube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agram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AutoShape 8"/>
          <p:cNvSpPr>
            <a:spLocks noChangeArrowheads="1"/>
          </p:cNvSpPr>
          <p:nvPr/>
        </p:nvSpPr>
        <p:spPr bwMode="auto">
          <a:xfrm>
            <a:off x="7606806" y="1287532"/>
            <a:ext cx="1367331" cy="79208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нь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8"/>
          <p:cNvSpPr>
            <a:spLocks noChangeArrowheads="1"/>
          </p:cNvSpPr>
          <p:nvPr/>
        </p:nvSpPr>
        <p:spPr bwMode="auto">
          <a:xfrm>
            <a:off x="7606807" y="2151628"/>
            <a:ext cx="1367329" cy="7370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нтябрь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абрь 201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AutoShape 8"/>
          <p:cNvSpPr>
            <a:spLocks noChangeArrowheads="1"/>
          </p:cNvSpPr>
          <p:nvPr/>
        </p:nvSpPr>
        <p:spPr bwMode="auto">
          <a:xfrm>
            <a:off x="4572000" y="2151628"/>
            <a:ext cx="2985456" cy="7370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ентация для заинтересованных сторон и экспертов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рофильных мероприятиях</a:t>
            </a:r>
          </a:p>
        </p:txBody>
      </p:sp>
      <p:sp>
        <p:nvSpPr>
          <p:cNvPr id="15" name="AutoShape 8"/>
          <p:cNvSpPr>
            <a:spLocks noChangeArrowheads="1"/>
          </p:cNvSpPr>
          <p:nvPr/>
        </p:nvSpPr>
        <p:spPr bwMode="auto">
          <a:xfrm>
            <a:off x="3842975" y="3140075"/>
            <a:ext cx="1283593" cy="288925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en-US" sz="1600" b="1" u="sng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-</a:t>
            </a:r>
            <a:r>
              <a:rPr lang="ru-RU" sz="1600" b="1" u="sng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и</a:t>
            </a:r>
          </a:p>
        </p:txBody>
      </p:sp>
      <p:sp>
        <p:nvSpPr>
          <p:cNvPr id="16" name="AutoShape 8"/>
          <p:cNvSpPr>
            <a:spLocks noChangeArrowheads="1"/>
          </p:cNvSpPr>
          <p:nvPr/>
        </p:nvSpPr>
        <p:spPr bwMode="auto">
          <a:xfrm>
            <a:off x="290989" y="3429000"/>
            <a:ext cx="7266465" cy="8654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spcAft>
                <a:spcPts val="0"/>
              </a:spcAft>
              <a:defRPr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редставление отчета на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ероприятиях (раздаточный материал):</a:t>
            </a:r>
            <a:endParaRPr lang="en-US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ыставочные мероприятия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DExpo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томекс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71450" indent="-1714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Круглые столы</a:t>
            </a:r>
          </a:p>
          <a:p>
            <a:pPr marL="171450" indent="-1714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говоры с партнерами и заказчиками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AutoShape 8"/>
          <p:cNvSpPr>
            <a:spLocks noChangeArrowheads="1"/>
          </p:cNvSpPr>
          <p:nvPr/>
        </p:nvSpPr>
        <p:spPr bwMode="auto">
          <a:xfrm>
            <a:off x="7597157" y="3429000"/>
            <a:ext cx="1367330" cy="8654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Май –</a:t>
            </a:r>
          </a:p>
          <a:p>
            <a:pPr algn="ctr">
              <a:defRPr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Ноябрь 201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utoShape 8"/>
          <p:cNvSpPr>
            <a:spLocks noChangeArrowheads="1"/>
          </p:cNvSpPr>
          <p:nvPr/>
        </p:nvSpPr>
        <p:spPr bwMode="auto">
          <a:xfrm>
            <a:off x="290989" y="4365104"/>
            <a:ext cx="7266465" cy="3600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spcAft>
                <a:spcPts val="0"/>
              </a:spcAft>
              <a:defRPr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убликация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сс-релизов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 профильных СМИ </a:t>
            </a:r>
          </a:p>
        </p:txBody>
      </p:sp>
      <p:sp>
        <p:nvSpPr>
          <p:cNvPr id="19" name="AutoShape 8"/>
          <p:cNvSpPr>
            <a:spLocks noChangeArrowheads="1"/>
          </p:cNvSpPr>
          <p:nvPr/>
        </p:nvSpPr>
        <p:spPr bwMode="auto">
          <a:xfrm>
            <a:off x="7606806" y="4365104"/>
            <a:ext cx="1357682" cy="36004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Май – Октябрь 201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AutoShape 8"/>
          <p:cNvSpPr>
            <a:spLocks noChangeArrowheads="1"/>
          </p:cNvSpPr>
          <p:nvPr/>
        </p:nvSpPr>
        <p:spPr bwMode="auto">
          <a:xfrm>
            <a:off x="3874994" y="5375001"/>
            <a:ext cx="1260519" cy="288925"/>
          </a:xfrm>
          <a:prstGeom prst="roundRect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1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Конкурсы</a:t>
            </a:r>
            <a:endParaRPr lang="ru-RU" sz="11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AutoShape 8"/>
          <p:cNvSpPr>
            <a:spLocks noChangeArrowheads="1"/>
          </p:cNvSpPr>
          <p:nvPr/>
        </p:nvSpPr>
        <p:spPr bwMode="auto">
          <a:xfrm>
            <a:off x="290991" y="5228776"/>
            <a:ext cx="7266465" cy="9365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Участие в конкурсах годовых отчетов, в т.ч.:</a:t>
            </a:r>
          </a:p>
          <a:p>
            <a:pPr>
              <a:buFontTx/>
              <a:buChar char="-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отраслевом конкурсе Госкорпорации «Росатом»;</a:t>
            </a:r>
          </a:p>
          <a:p>
            <a:pPr>
              <a:buFontTx/>
              <a:buChar char="-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течественных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онкурсах (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ММВБ-РЦБ, РА «Эксперт»); 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-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международных конкурса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om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RA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,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LACP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AutoShape 8"/>
          <p:cNvSpPr>
            <a:spLocks noChangeArrowheads="1"/>
          </p:cNvSpPr>
          <p:nvPr/>
        </p:nvSpPr>
        <p:spPr bwMode="auto">
          <a:xfrm>
            <a:off x="7592881" y="5228777"/>
            <a:ext cx="1381256" cy="9365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Август 201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– Апрель 20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AutoShape 8"/>
          <p:cNvSpPr>
            <a:spLocks noChangeArrowheads="1"/>
          </p:cNvSpPr>
          <p:nvPr/>
        </p:nvSpPr>
        <p:spPr bwMode="auto">
          <a:xfrm>
            <a:off x="3899411" y="4939852"/>
            <a:ext cx="1260519" cy="288925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600" b="1" u="sng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ы</a:t>
            </a:r>
            <a:endParaRPr lang="ru-RU" sz="1600" b="1" u="sng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ПЛАН ПРОДВИЖЕНИЯ ОТЧЕТА</a:t>
            </a:r>
            <a:b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2794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/>
          <p:cNvSpPr>
            <a:spLocks noGrp="1"/>
          </p:cNvSpPr>
          <p:nvPr>
            <p:ph idx="1"/>
          </p:nvPr>
        </p:nvSpPr>
        <p:spPr>
          <a:xfrm>
            <a:off x="1907704" y="2636912"/>
            <a:ext cx="5400601" cy="2447478"/>
          </a:xfrm>
        </p:spPr>
        <p:txBody>
          <a:bodyPr anchor="t">
            <a:noAutofit/>
          </a:bodyPr>
          <a:lstStyle/>
          <a:p>
            <a:pPr algn="ctr"/>
            <a:r>
              <a:rPr lang="ru-RU" altLang="ja-JP" sz="3200" b="1" dirty="0" smtClean="0">
                <a:solidFill>
                  <a:schemeClr val="tx2">
                    <a:lumMod val="75000"/>
                  </a:schemeClr>
                </a:solidFill>
              </a:rPr>
              <a:t>Спасибо за внимание!</a:t>
            </a:r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5357813" y="4746629"/>
            <a:ext cx="3714750" cy="138499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/>
            <a:endParaRPr lang="ru-RU" sz="1400" b="1" i="1" dirty="0" smtClean="0">
              <a:solidFill>
                <a:srgbClr val="000000"/>
              </a:solidFill>
              <a:sym typeface="Arial" pitchFamily="34" charset="0"/>
            </a:endParaRPr>
          </a:p>
          <a:p>
            <a:pPr defTabSz="914400"/>
            <a:r>
              <a:rPr lang="ru-RU" sz="1400" b="1" i="1" dirty="0" smtClean="0">
                <a:solidFill>
                  <a:srgbClr val="000000"/>
                </a:solidFill>
                <a:sym typeface="Arial" pitchFamily="34" charset="0"/>
              </a:rPr>
              <a:t>Дирекция по атомной энергетике и новым бизнесам</a:t>
            </a:r>
          </a:p>
          <a:p>
            <a:pPr defTabSz="914400"/>
            <a:r>
              <a:rPr lang="ru-RU" sz="1400" dirty="0" smtClean="0">
                <a:solidFill>
                  <a:srgbClr val="000000"/>
                </a:solidFill>
                <a:sym typeface="Arial" pitchFamily="34" charset="0"/>
              </a:rPr>
              <a:t>Тел</a:t>
            </a:r>
            <a:r>
              <a:rPr lang="en-US" sz="1400" dirty="0">
                <a:solidFill>
                  <a:srgbClr val="000000"/>
                </a:solidFill>
                <a:sym typeface="Arial" pitchFamily="34" charset="0"/>
              </a:rPr>
              <a:t>: +7(495)</a:t>
            </a:r>
            <a:r>
              <a:rPr lang="ru-RU" sz="1400" dirty="0">
                <a:solidFill>
                  <a:srgbClr val="000000"/>
                </a:solidFill>
                <a:sym typeface="Arial" pitchFamily="34" charset="0"/>
              </a:rPr>
              <a:t> 668</a:t>
            </a:r>
            <a:r>
              <a:rPr lang="en-US" sz="1400" dirty="0">
                <a:solidFill>
                  <a:srgbClr val="000000"/>
                </a:solidFill>
                <a:sym typeface="Arial" pitchFamily="34" charset="0"/>
              </a:rPr>
              <a:t>-</a:t>
            </a:r>
            <a:r>
              <a:rPr lang="ru-RU" sz="1400" dirty="0">
                <a:solidFill>
                  <a:srgbClr val="000000"/>
                </a:solidFill>
                <a:sym typeface="Arial" pitchFamily="34" charset="0"/>
              </a:rPr>
              <a:t>20</a:t>
            </a:r>
            <a:r>
              <a:rPr lang="en-US" sz="1400" dirty="0">
                <a:solidFill>
                  <a:srgbClr val="000000"/>
                </a:solidFill>
                <a:sym typeface="Arial" pitchFamily="34" charset="0"/>
              </a:rPr>
              <a:t>-</a:t>
            </a:r>
            <a:r>
              <a:rPr lang="ru-RU" sz="1400" dirty="0">
                <a:solidFill>
                  <a:srgbClr val="000000"/>
                </a:solidFill>
                <a:sym typeface="Arial" pitchFamily="34" charset="0"/>
              </a:rPr>
              <a:t>93</a:t>
            </a:r>
          </a:p>
          <a:p>
            <a:pPr defTabSz="914400"/>
            <a:r>
              <a:rPr lang="ru-RU" sz="1400" dirty="0">
                <a:solidFill>
                  <a:srgbClr val="000000"/>
                </a:solidFill>
                <a:sym typeface="Arial" pitchFamily="34" charset="0"/>
              </a:rPr>
              <a:t>Факс: + </a:t>
            </a:r>
            <a:r>
              <a:rPr lang="ru-RU" sz="1400" dirty="0" smtClean="0">
                <a:solidFill>
                  <a:srgbClr val="000000"/>
                </a:solidFill>
                <a:sym typeface="Arial" pitchFamily="34" charset="0"/>
              </a:rPr>
              <a:t>7(495</a:t>
            </a:r>
            <a:r>
              <a:rPr lang="ru-RU" sz="1400" dirty="0">
                <a:solidFill>
                  <a:srgbClr val="000000"/>
                </a:solidFill>
                <a:sym typeface="Arial" pitchFamily="34" charset="0"/>
              </a:rPr>
              <a:t>) 668-20-95</a:t>
            </a:r>
            <a:endParaRPr lang="en-US" sz="1400" dirty="0">
              <a:solidFill>
                <a:srgbClr val="000000"/>
              </a:solidFill>
              <a:sym typeface="Arial" pitchFamily="34" charset="0"/>
            </a:endParaRPr>
          </a:p>
          <a:p>
            <a:pPr defTabSz="914400"/>
            <a:r>
              <a:rPr lang="en-US" sz="1400" dirty="0">
                <a:solidFill>
                  <a:srgbClr val="000000"/>
                </a:solidFill>
                <a:sym typeface="Arial" pitchFamily="34" charset="0"/>
              </a:rPr>
              <a:t>E-mail: </a:t>
            </a:r>
            <a:r>
              <a:rPr lang="en-US" sz="1400" dirty="0" err="1">
                <a:solidFill>
                  <a:srgbClr val="000000"/>
                </a:solidFill>
                <a:sym typeface="Arial" pitchFamily="34" charset="0"/>
                <a:hlinkClick r:id="rId2"/>
              </a:rPr>
              <a:t>aem</a:t>
            </a:r>
            <a:r>
              <a:rPr lang="en-US" sz="1400" dirty="0">
                <a:solidFill>
                  <a:srgbClr val="000000"/>
                </a:solidFill>
                <a:sym typeface="Arial" pitchFamily="34" charset="0"/>
                <a:hlinkClick r:id="rId2"/>
              </a:rPr>
              <a:t>@</a:t>
            </a:r>
            <a:r>
              <a:rPr lang="ru-RU" sz="1400" dirty="0" smtClean="0">
                <a:solidFill>
                  <a:srgbClr val="000000"/>
                </a:solidFill>
                <a:sym typeface="Arial" pitchFamily="34" charset="0"/>
                <a:hlinkClick r:id="rId2"/>
              </a:rPr>
              <a:t>aem-group.ru</a:t>
            </a:r>
            <a:endParaRPr lang="en-US" sz="1400" dirty="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381000" y="5489579"/>
            <a:ext cx="3800475" cy="45720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/>
            <a:r>
              <a:rPr lang="ru-RU" sz="1200" b="1">
                <a:sym typeface="Arial" pitchFamily="34" charset="0"/>
              </a:rPr>
              <a:t>Адрес</a:t>
            </a:r>
            <a:r>
              <a:rPr lang="en-US" sz="1200">
                <a:sym typeface="Arial" pitchFamily="34" charset="0"/>
              </a:rPr>
              <a:t>:</a:t>
            </a:r>
            <a:r>
              <a:rPr lang="ru-RU" sz="1200">
                <a:sym typeface="Arial" pitchFamily="34" charset="0"/>
              </a:rPr>
              <a:t> 115184, Россия, Москва </a:t>
            </a:r>
          </a:p>
          <a:p>
            <a:pPr defTabSz="914400"/>
            <a:r>
              <a:rPr lang="ru-RU" sz="1200">
                <a:sym typeface="Arial" pitchFamily="34" charset="0"/>
              </a:rPr>
              <a:t>Озерковская наб.</a:t>
            </a:r>
            <a:r>
              <a:rPr lang="en-US" sz="1200">
                <a:sym typeface="Arial" pitchFamily="34" charset="0"/>
              </a:rPr>
              <a:t> 28, </a:t>
            </a:r>
            <a:r>
              <a:rPr lang="ru-RU" sz="1200">
                <a:sym typeface="Arial" pitchFamily="34" charset="0"/>
              </a:rPr>
              <a:t>стр</a:t>
            </a:r>
            <a:r>
              <a:rPr lang="en-US" sz="1200">
                <a:sym typeface="Arial" pitchFamily="34" charset="0"/>
              </a:rPr>
              <a:t>. 3  </a:t>
            </a:r>
            <a:endParaRPr lang="ru-RU" sz="1200"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38790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5"/>
          <p:cNvSpPr>
            <a:spLocks noGrp="1" noChangeArrowheads="1"/>
          </p:cNvSpPr>
          <p:nvPr>
            <p:ph idx="1"/>
          </p:nvPr>
        </p:nvSpPr>
        <p:spPr bwMode="auto">
          <a:xfrm>
            <a:off x="3347865" y="1052736"/>
            <a:ext cx="2376264" cy="475451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endParaRPr lang="ru-RU" sz="200" u="sng" dirty="0">
              <a:solidFill>
                <a:schemeClr val="tx2">
                  <a:lumMod val="75000"/>
                </a:schemeClr>
              </a:solidFill>
              <a:latin typeface="Arial Black" pitchFamily="34" charset="0"/>
            </a:endParaRPr>
          </a:p>
          <a:p>
            <a:pPr algn="ctr">
              <a:defRPr/>
            </a:pPr>
            <a:r>
              <a:rPr lang="ru-RU" sz="2000" b="1" u="sng" kern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 ОТЧЕТ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79512" y="1705986"/>
            <a:ext cx="3009511" cy="11469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4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прозрачности деятельности </a:t>
            </a: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шиностроительного 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зиона </a:t>
            </a:r>
            <a:r>
              <a:rPr lang="ru-RU" sz="1400" dirty="0" err="1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корпорации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400" dirty="0" err="1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атом</a:t>
            </a: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*</a:t>
            </a:r>
            <a:endParaRPr lang="ru-RU" sz="140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347864" y="1705986"/>
            <a:ext cx="2376264" cy="11469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4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ание и повышение репутации 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зиона на глобальных рынках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868144" y="1705987"/>
            <a:ext cx="3096344" cy="11469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иционирование 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зиона</a:t>
            </a:r>
            <a:r>
              <a:rPr lang="en-US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отечественном и международном рынках </a:t>
            </a: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етического машиностроения</a:t>
            </a:r>
            <a:endParaRPr lang="ru-RU" sz="140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3232439" y="3023384"/>
            <a:ext cx="2607113" cy="46166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endParaRPr lang="ru-RU" sz="400" u="sng" dirty="0">
              <a:solidFill>
                <a:schemeClr val="tx2">
                  <a:lumMod val="75000"/>
                </a:schemeClr>
              </a:solidFill>
              <a:latin typeface="Arial Black" pitchFamily="34" charset="0"/>
            </a:endParaRPr>
          </a:p>
          <a:p>
            <a:pPr algn="ctr">
              <a:defRPr/>
            </a:pPr>
            <a:r>
              <a:rPr lang="ru-RU" sz="2000" b="1" u="sng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 ОТЧЕТА</a:t>
            </a:r>
            <a:endParaRPr lang="ru-RU" sz="2000" b="1" u="sng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9512" y="3620895"/>
            <a:ext cx="8784978" cy="768338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>
            <a:outerShdw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spcBef>
                <a:spcPts val="1200"/>
              </a:spcBef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алансированное раскрытие итогов деятельности Дивизиона за год в привязке к целевым и прогнозным значениям, а также с точки зрения следования долгосрочным стратегическим целям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79510" y="4556999"/>
            <a:ext cx="8784978" cy="600193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>
            <a:outerShdw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spcBef>
                <a:spcPts val="1200"/>
              </a:spcBef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кус на освещении существенных тем, представляющих интерес для заинтересованных сторон и значимых для Дивизион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79512" y="5349087"/>
            <a:ext cx="8784978" cy="600193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>
            <a:outerShdw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spcBef>
                <a:spcPts val="1200"/>
              </a:spcBef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олжение освоения международных стандартов публичной отчетности и лучших практик отечественных и зарубежных компаний</a:t>
            </a:r>
          </a:p>
        </p:txBody>
      </p:sp>
      <p:sp>
        <p:nvSpPr>
          <p:cNvPr id="15" name="Объект 3"/>
          <p:cNvSpPr txBox="1">
            <a:spLocks/>
          </p:cNvSpPr>
          <p:nvPr/>
        </p:nvSpPr>
        <p:spPr>
          <a:xfrm>
            <a:off x="3232439" y="6336704"/>
            <a:ext cx="5127393" cy="40597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03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16205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200" kern="0" dirty="0">
                <a:solidFill>
                  <a:srgbClr val="6D6E71"/>
                </a:solidFill>
              </a:rPr>
              <a:t>КЛЮЧЕВЫЕ СОБЫТИЯ – </a:t>
            </a:r>
            <a:r>
              <a:rPr lang="ru-RU" sz="1200" kern="0" dirty="0" smtClean="0">
                <a:solidFill>
                  <a:srgbClr val="6D6E71"/>
                </a:solidFill>
              </a:rPr>
              <a:t>2018 </a:t>
            </a:r>
            <a:r>
              <a:rPr lang="ru-RU" sz="1200" kern="0" dirty="0">
                <a:solidFill>
                  <a:srgbClr val="6D6E71"/>
                </a:solidFill>
              </a:rPr>
              <a:t>ГОД</a:t>
            </a:r>
          </a:p>
        </p:txBody>
      </p:sp>
      <p:sp>
        <p:nvSpPr>
          <p:cNvPr id="16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 smtClean="0">
                <a:latin typeface="+mn-lt"/>
              </a:rPr>
              <a:t>ЦЕЛИ И ЗАДАЧИ ГОДОВОГО ОТЧЕТА</a:t>
            </a:r>
            <a:endParaRPr lang="ru-RU" sz="2000" kern="0" dirty="0">
              <a:latin typeface="+mn-lt"/>
            </a:endParaRPr>
          </a:p>
        </p:txBody>
      </p:sp>
      <p:sp>
        <p:nvSpPr>
          <p:cNvPr id="17" name="Содержимое 2"/>
          <p:cNvSpPr txBox="1">
            <a:spLocks/>
          </p:cNvSpPr>
          <p:nvPr/>
        </p:nvSpPr>
        <p:spPr bwMode="auto">
          <a:xfrm>
            <a:off x="2915816" y="6336704"/>
            <a:ext cx="5256584" cy="4766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ru-RU" sz="900" dirty="0">
                <a:cs typeface="Arial" panose="020B0604020202020204" pitchFamily="34" charset="0"/>
              </a:rPr>
              <a:t>* </a:t>
            </a:r>
            <a:r>
              <a:rPr lang="ru-RU" sz="900" dirty="0" smtClean="0">
                <a:cs typeface="Arial" panose="020B0604020202020204" pitchFamily="34" charset="0"/>
              </a:rPr>
              <a:t>Далее </a:t>
            </a:r>
            <a:r>
              <a:rPr lang="ru-RU" sz="900" dirty="0">
                <a:cs typeface="Arial" panose="020B0604020202020204" pitchFamily="34" charset="0"/>
              </a:rPr>
              <a:t>– Дивизион</a:t>
            </a:r>
          </a:p>
        </p:txBody>
      </p:sp>
    </p:spTree>
    <p:extLst>
      <p:ext uri="{BB962C8B-B14F-4D97-AF65-F5344CB8AC3E}">
        <p14:creationId xmlns:p14="http://schemas.microsoft.com/office/powerpoint/2010/main" val="3577782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987824" y="1340768"/>
            <a:ext cx="5616625" cy="4320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ru-RU" altLang="ja-JP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омерное увеличени</a:t>
            </a:r>
            <a:r>
              <a:rPr lang="ru-RU" altLang="ja-JP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lang="ru-RU" altLang="ja-JP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ртфеля заказов</a:t>
            </a:r>
            <a:endParaRPr lang="ru-RU" altLang="ja-JP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987824" y="2348880"/>
            <a:ext cx="5616625" cy="4454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овательное освоение смежных рынков</a:t>
            </a:r>
          </a:p>
        </p:txBody>
      </p:sp>
      <p:sp>
        <p:nvSpPr>
          <p:cNvPr id="8" name="Левая фигурная скобка 7"/>
          <p:cNvSpPr/>
          <p:nvPr/>
        </p:nvSpPr>
        <p:spPr>
          <a:xfrm>
            <a:off x="2771800" y="1340769"/>
            <a:ext cx="216024" cy="1470198"/>
          </a:xfrm>
          <a:prstGeom prst="lef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0" tIns="45716" rIns="91430" bIns="45716"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632575" y="4466860"/>
            <a:ext cx="5430578" cy="43204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мерческая деятельност</a:t>
            </a:r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ь</a:t>
            </a:r>
          </a:p>
        </p:txBody>
      </p:sp>
      <p:cxnSp>
        <p:nvCxnSpPr>
          <p:cNvPr id="29" name="Прямая соединительная линия 28"/>
          <p:cNvCxnSpPr>
            <a:stCxn id="8" idx="1"/>
          </p:cNvCxnSpPr>
          <p:nvPr/>
        </p:nvCxnSpPr>
        <p:spPr>
          <a:xfrm flipH="1">
            <a:off x="407552" y="2075868"/>
            <a:ext cx="2364248" cy="0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H="1">
            <a:off x="395536" y="2075868"/>
            <a:ext cx="12016" cy="171317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ListLeanHorizontalTextTopic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755576" y="3501008"/>
            <a:ext cx="7773885" cy="64807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>
            <a:defPPr>
              <a:defRPr lang="ru-RU"/>
            </a:defPPr>
            <a:lvl1pPr algn="ctr">
              <a:defRPr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altLang="ja-JP" cap="none" dirty="0" smtClean="0"/>
              <a:t>ПОВЫШЕНИЕ КОНКУРЕНТОСПОСОБНОСТИ</a:t>
            </a:r>
            <a:r>
              <a:rPr lang="en-US" altLang="ja-JP" cap="none" dirty="0" smtClean="0"/>
              <a:t>*</a:t>
            </a:r>
            <a:endParaRPr lang="ru-RU" altLang="ja-JP" cap="none" dirty="0" smtClean="0"/>
          </a:p>
        </p:txBody>
      </p:sp>
      <p:sp>
        <p:nvSpPr>
          <p:cNvPr id="34" name="Прямоугольник 33"/>
          <p:cNvSpPr/>
          <p:nvPr/>
        </p:nvSpPr>
        <p:spPr>
          <a:xfrm>
            <a:off x="3347864" y="2963686"/>
            <a:ext cx="3024336" cy="321298"/>
          </a:xfrm>
          <a:prstGeom prst="rect">
            <a:avLst/>
          </a:prstGeom>
        </p:spPr>
        <p:txBody>
          <a:bodyPr wrap="square" lIns="91430" tIns="45716" rIns="91430" bIns="45716">
            <a:spAutoFit/>
          </a:bodyPr>
          <a:lstStyle/>
          <a:p>
            <a:pPr marL="0" lvl="1" algn="ctr" defTabSz="914303">
              <a:lnSpc>
                <a:spcPct val="93000"/>
              </a:lnSpc>
              <a:spcBef>
                <a:spcPts val="600"/>
              </a:spcBef>
              <a:buClr>
                <a:srgbClr val="414142"/>
              </a:buClr>
              <a:buSzPct val="100000"/>
              <a:defRPr/>
            </a:pPr>
            <a:r>
              <a:rPr lang="ru-RU" sz="1600" cap="all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itchFamily="34" charset="0"/>
              </a:rPr>
              <a:t>ТЕМА отчета – 2018:</a:t>
            </a:r>
            <a:endParaRPr lang="ru-RU" sz="1600" cap="al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itchFamily="34" charset="0"/>
            </a:endParaRPr>
          </a:p>
        </p:txBody>
      </p:sp>
      <p:cxnSp>
        <p:nvCxnSpPr>
          <p:cNvPr id="37" name="Прямая со стрелкой 36"/>
          <p:cNvCxnSpPr/>
          <p:nvPr/>
        </p:nvCxnSpPr>
        <p:spPr>
          <a:xfrm>
            <a:off x="407552" y="3789040"/>
            <a:ext cx="348024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>
            <a:endCxn id="35" idx="1"/>
          </p:cNvCxnSpPr>
          <p:nvPr/>
        </p:nvCxnSpPr>
        <p:spPr>
          <a:xfrm flipH="1">
            <a:off x="6351670" y="5259459"/>
            <a:ext cx="2468803" cy="0"/>
          </a:xfrm>
          <a:prstGeom prst="straightConnector1">
            <a:avLst/>
          </a:prstGeom>
          <a:ln w="19050">
            <a:solidFill>
              <a:srgbClr val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>
            <a:stCxn id="33" idx="3"/>
          </p:cNvCxnSpPr>
          <p:nvPr/>
        </p:nvCxnSpPr>
        <p:spPr>
          <a:xfrm>
            <a:off x="8529461" y="3825044"/>
            <a:ext cx="291011" cy="0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V="1">
            <a:off x="8820472" y="3825045"/>
            <a:ext cx="0" cy="1422553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/>
          <p:nvPr/>
        </p:nvSpPr>
        <p:spPr>
          <a:xfrm>
            <a:off x="611560" y="1272065"/>
            <a:ext cx="2160240" cy="705662"/>
          </a:xfrm>
          <a:prstGeom prst="rect">
            <a:avLst/>
          </a:prstGeom>
        </p:spPr>
        <p:txBody>
          <a:bodyPr wrap="square" lIns="91430" tIns="45716" rIns="91430" bIns="45716">
            <a:spAutoFit/>
          </a:bodyPr>
          <a:lstStyle/>
          <a:p>
            <a:pPr marL="0" lvl="1" algn="r" defTabSz="914303">
              <a:lnSpc>
                <a:spcPct val="93000"/>
              </a:lnSpc>
              <a:spcBef>
                <a:spcPts val="600"/>
              </a:spcBef>
              <a:buClr>
                <a:srgbClr val="414142"/>
              </a:buClr>
              <a:buSzPct val="100000"/>
              <a:defRPr/>
            </a:pPr>
            <a:r>
              <a:rPr lang="ru-RU" sz="1400" cap="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itchFamily="34" charset="0"/>
              </a:rPr>
              <a:t>ПРЕДПОСЫЛКИ для выбора ключевой ТЕМЫ отчета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6300192" y="4478602"/>
            <a:ext cx="1944216" cy="501216"/>
          </a:xfrm>
          <a:prstGeom prst="rect">
            <a:avLst/>
          </a:prstGeom>
        </p:spPr>
        <p:txBody>
          <a:bodyPr wrap="square" lIns="91430" tIns="45716" rIns="91430" bIns="45716">
            <a:spAutoFit/>
          </a:bodyPr>
          <a:lstStyle/>
          <a:p>
            <a:pPr marL="0" lvl="1" defTabSz="914303">
              <a:lnSpc>
                <a:spcPct val="93000"/>
              </a:lnSpc>
              <a:spcBef>
                <a:spcPts val="600"/>
              </a:spcBef>
              <a:buClr>
                <a:srgbClr val="414142"/>
              </a:buClr>
              <a:buSzPct val="100000"/>
              <a:defRPr/>
            </a:pPr>
            <a:r>
              <a:rPr lang="ru-RU" sz="1400" cap="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itchFamily="34" charset="0"/>
              </a:rPr>
              <a:t>НАПРАВЛЕНИЯ РАСКРЫТИЯ</a:t>
            </a:r>
          </a:p>
        </p:txBody>
      </p:sp>
      <p:sp>
        <p:nvSpPr>
          <p:cNvPr id="35" name="Левая фигурная скобка 34"/>
          <p:cNvSpPr/>
          <p:nvPr/>
        </p:nvSpPr>
        <p:spPr>
          <a:xfrm flipH="1">
            <a:off x="6042133" y="4437112"/>
            <a:ext cx="309537" cy="1644693"/>
          </a:xfrm>
          <a:prstGeom prst="leftBrac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0" tIns="45716" rIns="91430" bIns="45716" rtlCol="0" anchor="ctr"/>
          <a:lstStyle/>
          <a:p>
            <a:pPr algn="ctr"/>
            <a:endParaRPr lang="ru-RU"/>
          </a:p>
        </p:txBody>
      </p:sp>
      <p:sp>
        <p:nvSpPr>
          <p:cNvPr id="22" name="Объект 3"/>
          <p:cNvSpPr>
            <a:spLocks noGrp="1"/>
          </p:cNvSpPr>
          <p:nvPr>
            <p:ph idx="10"/>
          </p:nvPr>
        </p:nvSpPr>
        <p:spPr>
          <a:xfrm>
            <a:off x="3059832" y="6406266"/>
            <a:ext cx="5184576" cy="423735"/>
          </a:xfrm>
        </p:spPr>
        <p:txBody>
          <a:bodyPr/>
          <a:lstStyle/>
          <a:p>
            <a:r>
              <a:rPr lang="ru-RU" dirty="0" smtClean="0"/>
              <a:t>РАСКРЫТИЕ ИНФОРМАЦИИ </a:t>
            </a:r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630082" y="4971939"/>
            <a:ext cx="5430578" cy="43204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 новых бизнес-направлений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2000" b="0">
                <a:solidFill>
                  <a:srgbClr val="003274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 smtClean="0"/>
              <a:t>ПРИОРИТЕТНАЯ ТЕМА ОТЧЕТА ЗА 2018 ГОД</a:t>
            </a:r>
            <a:endParaRPr lang="ru-RU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2987823" y="1844824"/>
            <a:ext cx="5616625" cy="43204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ru-RU" altLang="ja-JP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производства и ПСР</a:t>
            </a:r>
            <a:endParaRPr lang="ru-RU" altLang="ja-JP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30082" y="5477018"/>
            <a:ext cx="5430578" cy="6047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эффективности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Содержимое 2"/>
          <p:cNvSpPr txBox="1">
            <a:spLocks/>
          </p:cNvSpPr>
          <p:nvPr/>
        </p:nvSpPr>
        <p:spPr bwMode="auto">
          <a:xfrm>
            <a:off x="2915816" y="6336704"/>
            <a:ext cx="5256584" cy="4766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ru-RU" sz="900" dirty="0">
                <a:cs typeface="Arial" panose="020B0604020202020204" pitchFamily="34" charset="0"/>
              </a:rPr>
              <a:t>* </a:t>
            </a:r>
            <a:r>
              <a:rPr lang="ru-RU" sz="900" dirty="0" smtClean="0">
                <a:cs typeface="Arial" panose="020B0604020202020204" pitchFamily="34" charset="0"/>
              </a:rPr>
              <a:t>Конечное название темы отчета может измениться</a:t>
            </a:r>
            <a:endParaRPr lang="ru-RU" sz="9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24066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>
                <a:cs typeface="Arial" panose="020B0604020202020204" pitchFamily="34" charset="0"/>
              </a:rPr>
              <a:t>ОБЩЕСТВЕННОЕ </a:t>
            </a:r>
            <a:r>
              <a:rPr lang="ru-RU" dirty="0" smtClean="0">
                <a:cs typeface="Arial" panose="020B0604020202020204" pitchFamily="34" charset="0"/>
              </a:rPr>
              <a:t>ЗАВЕРЕНИЕ ОТЧЕТА</a:t>
            </a:r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17" name="Прямоугольник 19"/>
          <p:cNvSpPr>
            <a:spLocks noChangeArrowheads="1"/>
          </p:cNvSpPr>
          <p:nvPr/>
        </p:nvSpPr>
        <p:spPr bwMode="auto">
          <a:xfrm>
            <a:off x="2411760" y="2276872"/>
            <a:ext cx="4896543" cy="3079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ja-JP" sz="1400" b="1" u="sng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СТАНДАРТ ИНТЕГРИРОВАННОЙ ОТЧЕТНОСТИ</a:t>
            </a:r>
            <a:endParaRPr lang="ru-RU" sz="1400" b="1" u="sng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3"/>
          <p:cNvSpPr>
            <a:spLocks noChangeArrowheads="1"/>
          </p:cNvSpPr>
          <p:nvPr/>
        </p:nvSpPr>
        <p:spPr bwMode="auto">
          <a:xfrm>
            <a:off x="5497760" y="2615806"/>
            <a:ext cx="317869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Фундаментальные концепции</a:t>
            </a: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бизнес-модель </a:t>
            </a:r>
            <a:endParaRPr lang="en-US" sz="12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капиталы</a:t>
            </a:r>
            <a:endParaRPr lang="en-US" sz="12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с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здание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стоимост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компании</a:t>
            </a:r>
          </a:p>
        </p:txBody>
      </p:sp>
      <p:sp>
        <p:nvSpPr>
          <p:cNvPr id="26" name="Прямоугольник 9"/>
          <p:cNvSpPr>
            <a:spLocks noChangeArrowheads="1"/>
          </p:cNvSpPr>
          <p:nvPr/>
        </p:nvSpPr>
        <p:spPr bwMode="auto">
          <a:xfrm>
            <a:off x="539553" y="1476422"/>
            <a:ext cx="8229600" cy="64633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Стандарты</a:t>
            </a: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Универсальные стандарты </a:t>
            </a:r>
            <a:r>
              <a:rPr lang="en-US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GRI 101-103</a:t>
            </a:r>
            <a:endParaRPr lang="ru-RU" sz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Тематические стандарты (в соответствии с результатами </a:t>
            </a:r>
            <a:r>
              <a:rPr lang="ru-RU" sz="1200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приоритизации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 существенных тем)</a:t>
            </a:r>
            <a:endParaRPr lang="ru-RU" sz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  <a:sym typeface="Arial Black" pitchFamily="34" charset="0"/>
            </a:endParaRPr>
          </a:p>
        </p:txBody>
      </p:sp>
      <p:sp>
        <p:nvSpPr>
          <p:cNvPr id="28" name="Прямоугольник 18"/>
          <p:cNvSpPr>
            <a:spLocks noChangeArrowheads="1"/>
          </p:cNvSpPr>
          <p:nvPr/>
        </p:nvSpPr>
        <p:spPr bwMode="auto">
          <a:xfrm>
            <a:off x="2906514" y="1127393"/>
            <a:ext cx="3969742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СТАНДАРТЫ </a:t>
            </a:r>
            <a:r>
              <a:rPr lang="en-US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GRI</a:t>
            </a:r>
            <a:r>
              <a:rPr lang="ru-RU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 </a:t>
            </a:r>
            <a:r>
              <a:rPr lang="en-US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SRS</a:t>
            </a:r>
          </a:p>
        </p:txBody>
      </p:sp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+mn-lt"/>
              </a:rPr>
              <a:t>РАСКРЫТИЕ </a:t>
            </a:r>
            <a:r>
              <a:rPr lang="ru-RU" sz="2000" kern="0" dirty="0" smtClean="0">
                <a:latin typeface="+mn-lt"/>
              </a:rPr>
              <a:t>ИНФОРМАЦИИ И ПАРАМЕТРЫ ОТЧЕТА</a:t>
            </a:r>
            <a:endParaRPr lang="ru-RU" sz="2000" kern="0" dirty="0">
              <a:latin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22126" y="2615806"/>
            <a:ext cx="409689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ru-RU" sz="1200" b="1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бязательные элементы</a:t>
            </a:r>
          </a:p>
          <a:p>
            <a:pPr marL="273050" lvl="0" indent="-952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бзор организации и внешняя среда (расширенно)</a:t>
            </a:r>
          </a:p>
          <a:p>
            <a:pPr marL="273050" lvl="0" indent="-952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управление</a:t>
            </a:r>
          </a:p>
          <a:p>
            <a:pPr marL="273050" lvl="0" indent="-952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возможности и риски</a:t>
            </a:r>
          </a:p>
          <a:p>
            <a:pPr marL="273050" lvl="0" indent="-952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стратегия и распределение ресурсов </a:t>
            </a:r>
          </a:p>
          <a:p>
            <a:pPr marL="273050" lvl="0" indent="-952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бизнес-модель</a:t>
            </a:r>
          </a:p>
          <a:p>
            <a:pPr marL="273050" lvl="0" indent="-952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деятельность</a:t>
            </a:r>
          </a:p>
          <a:p>
            <a:pPr marL="273050" lvl="0" indent="-952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перспективы на будущее</a:t>
            </a:r>
            <a:endParaRPr lang="ru-RU" sz="1200" b="1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</p:txBody>
      </p:sp>
      <p:sp>
        <p:nvSpPr>
          <p:cNvPr id="38" name="AutoShape 5"/>
          <p:cNvSpPr>
            <a:spLocks noChangeArrowheads="1"/>
          </p:cNvSpPr>
          <p:nvPr/>
        </p:nvSpPr>
        <p:spPr bwMode="auto">
          <a:xfrm>
            <a:off x="2888046" y="4304386"/>
            <a:ext cx="3600399" cy="307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u="sng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АМЕТРЫ ОТЧЕТА</a:t>
            </a:r>
            <a:endParaRPr lang="ru-RU" sz="1400" b="1" u="sng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55576" y="5005625"/>
            <a:ext cx="271888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Полиграфическая версия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n-US" altLang="ja-JP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-pdf </a:t>
            </a:r>
            <a:r>
              <a:rPr lang="ru-RU" altLang="ja-JP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сия (расширенная, </a:t>
            </a:r>
            <a:endParaRPr lang="ru-RU" altLang="ja-JP" sz="1200" dirty="0" smtClean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altLang="ja-JP" sz="12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</a:t>
            </a:r>
            <a:r>
              <a:rPr lang="ru-RU" altLang="ja-JP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все приложения отчета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altLang="ja-JP" sz="1200" dirty="0" err="1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опрезентация</a:t>
            </a:r>
            <a:r>
              <a:rPr lang="ru-RU" altLang="ja-JP" sz="1200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ja-JP" sz="12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а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altLang="ja-JP" sz="12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активная версия</a:t>
            </a:r>
            <a:endParaRPr lang="en-US" altLang="ja-JP" sz="1200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1560" y="4728626"/>
            <a:ext cx="131760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Формат отчета</a:t>
            </a:r>
            <a:endParaRPr lang="ru-RU" dirty="0"/>
          </a:p>
        </p:txBody>
      </p:sp>
      <p:sp>
        <p:nvSpPr>
          <p:cNvPr id="40" name="TextBox 39"/>
          <p:cNvSpPr txBox="1"/>
          <p:nvPr/>
        </p:nvSpPr>
        <p:spPr>
          <a:xfrm>
            <a:off x="3609773" y="5005625"/>
            <a:ext cx="24743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just"/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ПОЛНАЯ ПЕЧАТНАЯ ВЕРСИЯ 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ru-RU" altLang="ja-JP" sz="12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150 экз. (рус. яз.)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</a:pPr>
            <a:r>
              <a:rPr lang="en-US" altLang="ja-JP" sz="12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70</a:t>
            </a:r>
            <a:r>
              <a:rPr lang="ru-RU" altLang="ja-JP" sz="1200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 экз. (англ. яз.)</a:t>
            </a:r>
            <a:endParaRPr lang="en-US" altLang="ja-JP" sz="1200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441585" y="4724929"/>
            <a:ext cx="121276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Тираж и язык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6433114" y="4728626"/>
            <a:ext cx="130798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бъем отчета*</a:t>
            </a:r>
            <a:endParaRPr lang="ru-RU" sz="1200" b="1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488445" y="4961170"/>
            <a:ext cx="199554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just"/>
            <a:r>
              <a:rPr lang="ru-RU" sz="1200" i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2018 – не более 110 стр.</a:t>
            </a:r>
          </a:p>
          <a:p>
            <a:pPr lvl="0" algn="just"/>
            <a:r>
              <a:rPr lang="ru-RU" altLang="ja-JP" sz="1200" i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2017 г. – 114 стр.</a:t>
            </a:r>
          </a:p>
          <a:p>
            <a:pPr lvl="0" algn="just"/>
            <a:r>
              <a:rPr lang="ru-RU" altLang="ja-JP" sz="1200" i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2016 г. – 112 стр.</a:t>
            </a:r>
          </a:p>
          <a:p>
            <a:pPr lvl="0" algn="just"/>
            <a:r>
              <a:rPr lang="ru-RU" altLang="ja-JP" sz="1200" i="1" dirty="0" smtClean="0">
                <a:solidFill>
                  <a:srgbClr val="003274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2015 г. – 120 стр.</a:t>
            </a:r>
            <a:endParaRPr lang="en-US" altLang="ja-JP" sz="1200" i="1" dirty="0">
              <a:solidFill>
                <a:srgbClr val="003274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Содержимое 2"/>
          <p:cNvSpPr txBox="1">
            <a:spLocks/>
          </p:cNvSpPr>
          <p:nvPr/>
        </p:nvSpPr>
        <p:spPr bwMode="auto">
          <a:xfrm>
            <a:off x="2915816" y="6309320"/>
            <a:ext cx="5256584" cy="4766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algn="just"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tabLst>
                <a:tab pos="449263" algn="l"/>
              </a:tabLst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cs typeface="Calibri" pitchFamily="34" charset="0"/>
              </a:rPr>
              <a:t>* </a:t>
            </a:r>
            <a:r>
              <a:rPr lang="ru-RU" sz="900" kern="0" dirty="0" smtClean="0">
                <a:solidFill>
                  <a:schemeClr val="accent4">
                    <a:lumMod val="50000"/>
                  </a:schemeClr>
                </a:solidFill>
                <a:cs typeface="Calibri" pitchFamily="34" charset="0"/>
              </a:rPr>
              <a:t>В формате А4</a:t>
            </a:r>
            <a:endParaRPr lang="en-US" sz="900" kern="0" dirty="0">
              <a:solidFill>
                <a:schemeClr val="accent4">
                  <a:lumMod val="50000"/>
                </a:schemeClr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67334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1700808"/>
            <a:ext cx="8699590" cy="4248472"/>
          </a:xfrm>
        </p:spPr>
        <p:txBody>
          <a:bodyPr numCol="2"/>
          <a:lstStyle/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Головачев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С.С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оветник Департамента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оммуникаций </a:t>
            </a:r>
            <a:r>
              <a:rPr lang="ru-RU" sz="1200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скорпорации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«</a:t>
            </a:r>
            <a:r>
              <a:rPr lang="ru-RU" sz="1200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осатом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Зиновьев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В.Е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,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чальник управления стратегического развития и реализаци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ектов ОАО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КЗ «Красный котельщик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Никитин А.К.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едседатель правления ЭПЦ «</a:t>
            </a:r>
            <a:r>
              <a:rPr lang="ru-RU" sz="1200" dirty="0" err="1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еллона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Ойрах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М.И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,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енеральный директор ООО «Горизонт КФ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Петрунин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В.В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,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ервый заместитель директора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О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ОКБМ им. И.И. Африкантова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Тимонов А.В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иректор департамента информационных и общественных связей АО «Концерн Росэнергоатом»</a:t>
            </a:r>
            <a:endParaRPr lang="ru-RU" sz="1200" dirty="0" smtClean="0">
              <a:solidFill>
                <a:schemeClr val="tx2">
                  <a:lumMod val="75000"/>
                </a:schemeClr>
              </a:solidFill>
              <a:latin typeface="Arial Black" pitchFamily="34" charset="0"/>
              <a:cs typeface="Arial" pitchFamily="34" charset="0"/>
            </a:endParaRP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Феок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т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истова Е.Н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Управляющий директор по корпоративной ответственности, устойчивому развитию и социальному предпринимательству РСПП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sz="1200" dirty="0" smtClean="0">
              <a:solidFill>
                <a:schemeClr val="tx2">
                  <a:lumMod val="75000"/>
                </a:schemeClr>
              </a:solidFill>
              <a:latin typeface="Arial Black" pitchFamily="34" charset="0"/>
              <a:cs typeface="Arial" pitchFamily="34" charset="0"/>
            </a:endParaRP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Хитров А.Ю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,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енеральный директор Союза работодателей атомной промышленности, энергетики и наук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оссии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Саакян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Ю.З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енеральный директор АНО «Институт проблем естественных монополий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Белоусов П.А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аместитель декана по научной работе НИЯУ МИФИ, доцент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Борисов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Ю.В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аместитель председателя Российского профсоюза работников атомной энергетики и промышленности</a:t>
            </a:r>
            <a:endParaRPr lang="en-US" sz="1200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Давыдова Н.Г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иректор АНО «Институт консалтинга экологических проектов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err="1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Хасиев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 А.В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едседатель межрегионального общественного экологического движения «Ока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Пименова В.А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чальник управления стратегии АО ИК «АСЭ»</a:t>
            </a:r>
            <a:endParaRPr lang="en-US" sz="1200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Сычев В.В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пециальный корреспондент МИА «Россия сегодня»</a:t>
            </a:r>
          </a:p>
        </p:txBody>
      </p:sp>
      <p:sp>
        <p:nvSpPr>
          <p:cNvPr id="4" name="Объект 3"/>
          <p:cNvSpPr>
            <a:spLocks noGrp="1"/>
          </p:cNvSpPr>
          <p:nvPr>
            <p:ph idx="10"/>
          </p:nvPr>
        </p:nvSpPr>
        <p:spPr>
          <a:xfrm>
            <a:off x="3059832" y="6406266"/>
            <a:ext cx="5184576" cy="423735"/>
          </a:xfrm>
        </p:spPr>
        <p:txBody>
          <a:bodyPr/>
          <a:lstStyle/>
          <a:p>
            <a:r>
              <a:rPr lang="ru-RU" dirty="0"/>
              <a:t>КАРТА СУЩЕСТВЕННЫХ ТЕМ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39552" y="980728"/>
            <a:ext cx="84835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енное заверение выполняется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представителям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заинтересованных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сторон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далее – ЗС)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мках процесса подготовк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а.</a:t>
            </a:r>
            <a:endParaRPr lang="ru-RU" sz="1200" dirty="0" smtClean="0">
              <a:solidFill>
                <a:schemeClr val="tx2">
                  <a:lumMod val="75000"/>
                </a:schemeClr>
              </a:solidFill>
              <a:latin typeface="Arial Black" pitchFamily="34" charset="0"/>
              <a:cs typeface="Arial" pitchFamily="34" charset="0"/>
            </a:endParaRPr>
          </a:p>
          <a:p>
            <a:pPr algn="just"/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ом общественного заверения является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Заключение об общественном заверении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Arial Black" pitchFamily="34" charset="0"/>
              <a:cs typeface="Arial" pitchFamily="34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 bwMode="auto">
          <a:xfrm>
            <a:off x="2915816" y="6314812"/>
            <a:ext cx="5256584" cy="4766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algn="just"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tabLst>
                <a:tab pos="449263" algn="l"/>
              </a:tabLst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cs typeface="Calibri" pitchFamily="34" charset="0"/>
              </a:rPr>
              <a:t>* </a:t>
            </a:r>
            <a:r>
              <a:rPr lang="ru-RU" sz="900" kern="0" dirty="0" smtClean="0">
                <a:solidFill>
                  <a:schemeClr val="accent4">
                    <a:lumMod val="50000"/>
                  </a:schemeClr>
                </a:solidFill>
                <a:cs typeface="Calibri" pitchFamily="34" charset="0"/>
              </a:rPr>
              <a:t>Проектный список</a:t>
            </a:r>
            <a:endParaRPr lang="en-US" sz="900" kern="0" dirty="0">
              <a:solidFill>
                <a:schemeClr val="accent4">
                  <a:lumMod val="50000"/>
                </a:schemeClr>
              </a:solidFill>
              <a:cs typeface="Calibri" pitchFamily="34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ОБЩЕСТВЕННОЕ </a:t>
            </a:r>
            <a:r>
              <a:rPr lang="ru-RU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ЗАВЕРЕНИЕ ОТЧЕТА*</a:t>
            </a:r>
            <a:endParaRPr lang="ru-RU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53406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5295728" y="1260847"/>
            <a:ext cx="479591" cy="4661476"/>
          </a:xfrm>
          <a:prstGeom prst="rect">
            <a:avLst/>
          </a:prstGeom>
          <a:solidFill>
            <a:srgbClr val="FF0000">
              <a:alpha val="64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746127" y="1260847"/>
            <a:ext cx="4545953" cy="451836"/>
          </a:xfrm>
          <a:prstGeom prst="rect">
            <a:avLst/>
          </a:prstGeom>
          <a:solidFill>
            <a:srgbClr val="FF0000">
              <a:alpha val="64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760010" y="1724566"/>
            <a:ext cx="1224000" cy="3078000"/>
          </a:xfrm>
          <a:prstGeom prst="rect">
            <a:avLst/>
          </a:prstGeom>
          <a:solidFill>
            <a:srgbClr val="FFFF00">
              <a:alpha val="38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978743" y="1721704"/>
            <a:ext cx="3312000" cy="4212000"/>
          </a:xfrm>
          <a:prstGeom prst="rect">
            <a:avLst/>
          </a:prstGeom>
          <a:solidFill>
            <a:srgbClr val="FFFF00">
              <a:alpha val="38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Прямоугольник 163"/>
          <p:cNvSpPr/>
          <p:nvPr/>
        </p:nvSpPr>
        <p:spPr>
          <a:xfrm>
            <a:off x="755576" y="4793562"/>
            <a:ext cx="1224000" cy="1123200"/>
          </a:xfrm>
          <a:prstGeom prst="rect">
            <a:avLst/>
          </a:prstGeom>
          <a:solidFill>
            <a:srgbClr val="49D76E">
              <a:alpha val="79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6"/>
          <p:cNvSpPr>
            <a:spLocks noChangeArrowheads="1"/>
          </p:cNvSpPr>
          <p:nvPr/>
        </p:nvSpPr>
        <p:spPr bwMode="auto">
          <a:xfrm rot="16200000">
            <a:off x="-1675805" y="1357660"/>
            <a:ext cx="4008437" cy="422275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/>
          <a:lstStyle/>
          <a:p>
            <a:pPr indent="180975" algn="just" defTabSz="914400">
              <a:tabLst>
                <a:tab pos="217488" algn="l"/>
              </a:tabLst>
              <a:defRPr/>
            </a:pPr>
            <a:r>
              <a:rPr lang="ru-RU" altLang="ja-JP" sz="1200" b="1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Существенные воздействия</a:t>
            </a:r>
          </a:p>
        </p:txBody>
      </p:sp>
      <p:sp>
        <p:nvSpPr>
          <p:cNvPr id="5" name="AutoShape 6"/>
          <p:cNvSpPr>
            <a:spLocks noChangeArrowheads="1"/>
          </p:cNvSpPr>
          <p:nvPr/>
        </p:nvSpPr>
        <p:spPr bwMode="auto">
          <a:xfrm>
            <a:off x="5977613" y="5864950"/>
            <a:ext cx="4775200" cy="144463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/>
          <a:lstStyle/>
          <a:p>
            <a:pPr indent="180975" algn="just" defTabSz="914400">
              <a:tabLst>
                <a:tab pos="217488" algn="l"/>
              </a:tabLst>
              <a:defRPr/>
            </a:pPr>
            <a:r>
              <a:rPr lang="ru-RU" altLang="ja-JP" sz="1200" b="1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Влияние на оценки </a:t>
            </a:r>
            <a:r>
              <a:rPr lang="ru-RU" altLang="ja-JP" sz="1200" b="1" i="1" dirty="0" err="1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стейкхолдеров</a:t>
            </a:r>
            <a:endParaRPr lang="ru-RU" altLang="ja-JP" sz="1200" b="1" i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269" name="Прямоугольник 5"/>
          <p:cNvSpPr>
            <a:spLocks noChangeArrowheads="1"/>
          </p:cNvSpPr>
          <p:nvPr/>
        </p:nvSpPr>
        <p:spPr bwMode="auto">
          <a:xfrm>
            <a:off x="234367" y="4643635"/>
            <a:ext cx="68738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25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755575" y="1136619"/>
            <a:ext cx="1" cy="480998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>
            <a:endCxn id="11315" idx="0"/>
          </p:cNvCxnSpPr>
          <p:nvPr/>
        </p:nvCxnSpPr>
        <p:spPr>
          <a:xfrm>
            <a:off x="660692" y="5946608"/>
            <a:ext cx="5119892" cy="114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311" name="Прямоугольник 47"/>
          <p:cNvSpPr>
            <a:spLocks noChangeArrowheads="1"/>
          </p:cNvSpPr>
          <p:nvPr/>
        </p:nvSpPr>
        <p:spPr bwMode="auto">
          <a:xfrm>
            <a:off x="1692438" y="5961798"/>
            <a:ext cx="687388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25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12" name="Прямоугольник 48"/>
          <p:cNvSpPr>
            <a:spLocks noChangeArrowheads="1"/>
          </p:cNvSpPr>
          <p:nvPr/>
        </p:nvSpPr>
        <p:spPr bwMode="auto">
          <a:xfrm>
            <a:off x="266750" y="1569014"/>
            <a:ext cx="688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9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13" name="Прямоугольник 49"/>
          <p:cNvSpPr>
            <a:spLocks noChangeArrowheads="1"/>
          </p:cNvSpPr>
          <p:nvPr/>
        </p:nvSpPr>
        <p:spPr bwMode="auto">
          <a:xfrm>
            <a:off x="4964732" y="5959499"/>
            <a:ext cx="687388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9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14" name="Прямоугольник 50"/>
          <p:cNvSpPr>
            <a:spLocks noChangeArrowheads="1"/>
          </p:cNvSpPr>
          <p:nvPr/>
        </p:nvSpPr>
        <p:spPr bwMode="auto">
          <a:xfrm>
            <a:off x="282625" y="1136619"/>
            <a:ext cx="68897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315" name="Прямоугольник 51"/>
          <p:cNvSpPr>
            <a:spLocks noChangeArrowheads="1"/>
          </p:cNvSpPr>
          <p:nvPr/>
        </p:nvSpPr>
        <p:spPr bwMode="auto">
          <a:xfrm>
            <a:off x="5436096" y="5958067"/>
            <a:ext cx="6889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156176" y="2729880"/>
            <a:ext cx="406400" cy="415925"/>
          </a:xfrm>
          <a:prstGeom prst="rect">
            <a:avLst/>
          </a:prstGeom>
          <a:solidFill>
            <a:srgbClr val="FFFF00">
              <a:alpha val="38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6156176" y="2348880"/>
            <a:ext cx="406400" cy="381000"/>
          </a:xfrm>
          <a:prstGeom prst="rect">
            <a:avLst/>
          </a:prstGeom>
          <a:solidFill>
            <a:srgbClr val="FF0000">
              <a:alpha val="64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6168051" y="3145805"/>
            <a:ext cx="406400" cy="401637"/>
          </a:xfrm>
          <a:prstGeom prst="rect">
            <a:avLst/>
          </a:prstGeom>
          <a:solidFill>
            <a:srgbClr val="92D050">
              <a:alpha val="79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55" name="Прямоугольник 91"/>
          <p:cNvSpPr>
            <a:spLocks noChangeArrowheads="1"/>
          </p:cNvSpPr>
          <p:nvPr/>
        </p:nvSpPr>
        <p:spPr bwMode="auto">
          <a:xfrm>
            <a:off x="6576864" y="2369343"/>
            <a:ext cx="27305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етальное раскрытие</a:t>
            </a:r>
          </a:p>
        </p:txBody>
      </p:sp>
      <p:sp>
        <p:nvSpPr>
          <p:cNvPr id="11356" name="Прямоугольник 92"/>
          <p:cNvSpPr>
            <a:spLocks noChangeArrowheads="1"/>
          </p:cNvSpPr>
          <p:nvPr/>
        </p:nvSpPr>
        <p:spPr bwMode="auto">
          <a:xfrm>
            <a:off x="6520433" y="2680593"/>
            <a:ext cx="2732087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остаточное раскрытие 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RI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ой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ровень) </a:t>
            </a:r>
          </a:p>
        </p:txBody>
      </p:sp>
      <p:sp>
        <p:nvSpPr>
          <p:cNvPr id="11357" name="Прямоугольник 93"/>
          <p:cNvSpPr>
            <a:spLocks noChangeArrowheads="1"/>
          </p:cNvSpPr>
          <p:nvPr/>
        </p:nvSpPr>
        <p:spPr bwMode="auto">
          <a:xfrm>
            <a:off x="6573689" y="3207543"/>
            <a:ext cx="2732087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>
                <a:latin typeface="Arial" panose="020B0604020202020204" pitchFamily="34" charset="0"/>
                <a:cs typeface="Arial" panose="020B0604020202020204" pitchFamily="34" charset="0"/>
              </a:rPr>
              <a:t>Краткий комментарий</a:t>
            </a:r>
          </a:p>
        </p:txBody>
      </p:sp>
      <p:sp>
        <p:nvSpPr>
          <p:cNvPr id="11421" name="Прямоугольник 157"/>
          <p:cNvSpPr>
            <a:spLocks noChangeArrowheads="1"/>
          </p:cNvSpPr>
          <p:nvPr/>
        </p:nvSpPr>
        <p:spPr bwMode="auto">
          <a:xfrm>
            <a:off x="282624" y="5919909"/>
            <a:ext cx="6889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76" name="Прямоугольник 175"/>
          <p:cNvSpPr/>
          <p:nvPr/>
        </p:nvSpPr>
        <p:spPr>
          <a:xfrm>
            <a:off x="6562575" y="2348880"/>
            <a:ext cx="1835329" cy="373996"/>
          </a:xfrm>
          <a:prstGeom prst="rect">
            <a:avLst/>
          </a:prstGeom>
          <a:solidFill>
            <a:schemeClr val="tx2">
              <a:lumMod val="20000"/>
              <a:lumOff val="80000"/>
              <a:alpha val="38000"/>
            </a:scheme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7" name="Прямоугольник 176"/>
          <p:cNvSpPr/>
          <p:nvPr/>
        </p:nvSpPr>
        <p:spPr>
          <a:xfrm>
            <a:off x="6571060" y="3151520"/>
            <a:ext cx="1826844" cy="395922"/>
          </a:xfrm>
          <a:prstGeom prst="rect">
            <a:avLst/>
          </a:prstGeom>
          <a:solidFill>
            <a:schemeClr val="tx2">
              <a:lumMod val="20000"/>
              <a:lumOff val="80000"/>
              <a:alpha val="38000"/>
            </a:scheme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Прямоугольник 177"/>
          <p:cNvSpPr/>
          <p:nvPr/>
        </p:nvSpPr>
        <p:spPr>
          <a:xfrm>
            <a:off x="6575023" y="2709678"/>
            <a:ext cx="1795915" cy="415925"/>
          </a:xfrm>
          <a:prstGeom prst="rect">
            <a:avLst/>
          </a:prstGeom>
          <a:solidFill>
            <a:schemeClr val="bg1">
              <a:alpha val="38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9" name="Прямая соединительная линия 178"/>
          <p:cNvCxnSpPr/>
          <p:nvPr/>
        </p:nvCxnSpPr>
        <p:spPr>
          <a:xfrm flipV="1">
            <a:off x="765026" y="5473465"/>
            <a:ext cx="5082650" cy="1862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единительная линия 179"/>
          <p:cNvCxnSpPr/>
          <p:nvPr/>
        </p:nvCxnSpPr>
        <p:spPr>
          <a:xfrm>
            <a:off x="747840" y="4793562"/>
            <a:ext cx="1230903" cy="0"/>
          </a:xfrm>
          <a:prstGeom prst="line">
            <a:avLst/>
          </a:prstGeom>
          <a:ln w="12700">
            <a:solidFill>
              <a:schemeClr val="tx1">
                <a:lumMod val="50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Прямая соединительная линия 181"/>
          <p:cNvCxnSpPr/>
          <p:nvPr/>
        </p:nvCxnSpPr>
        <p:spPr>
          <a:xfrm>
            <a:off x="755576" y="4112697"/>
            <a:ext cx="511989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Прямая соединительная линия 182"/>
          <p:cNvCxnSpPr/>
          <p:nvPr/>
        </p:nvCxnSpPr>
        <p:spPr>
          <a:xfrm>
            <a:off x="736462" y="3645024"/>
            <a:ext cx="511989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Прямая соединительная линия 183"/>
          <p:cNvCxnSpPr/>
          <p:nvPr/>
        </p:nvCxnSpPr>
        <p:spPr>
          <a:xfrm>
            <a:off x="765026" y="3176593"/>
            <a:ext cx="511044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единительная линия 184"/>
          <p:cNvCxnSpPr/>
          <p:nvPr/>
        </p:nvCxnSpPr>
        <p:spPr>
          <a:xfrm>
            <a:off x="765026" y="2696287"/>
            <a:ext cx="511044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" name="Прямая соединительная линия 185"/>
          <p:cNvCxnSpPr/>
          <p:nvPr/>
        </p:nvCxnSpPr>
        <p:spPr>
          <a:xfrm>
            <a:off x="765026" y="2204864"/>
            <a:ext cx="511044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" name="Прямая соединительная линия 186"/>
          <p:cNvCxnSpPr/>
          <p:nvPr/>
        </p:nvCxnSpPr>
        <p:spPr>
          <a:xfrm>
            <a:off x="755575" y="1712683"/>
            <a:ext cx="5100778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" name="Прямая соединительная линия 193"/>
          <p:cNvCxnSpPr/>
          <p:nvPr/>
        </p:nvCxnSpPr>
        <p:spPr>
          <a:xfrm>
            <a:off x="3227598" y="1136619"/>
            <a:ext cx="0" cy="4800562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Прямая соединительная линия 195"/>
          <p:cNvCxnSpPr/>
          <p:nvPr/>
        </p:nvCxnSpPr>
        <p:spPr>
          <a:xfrm>
            <a:off x="1219940" y="1161127"/>
            <a:ext cx="27240" cy="475679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Прямая соединительная линия 196"/>
          <p:cNvCxnSpPr/>
          <p:nvPr/>
        </p:nvCxnSpPr>
        <p:spPr>
          <a:xfrm>
            <a:off x="1969620" y="4782541"/>
            <a:ext cx="14390" cy="1190756"/>
          </a:xfrm>
          <a:prstGeom prst="line">
            <a:avLst/>
          </a:prstGeom>
          <a:ln w="12700">
            <a:solidFill>
              <a:schemeClr val="tx1">
                <a:lumMod val="50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9" name="Прямая соединительная линия 198"/>
          <p:cNvCxnSpPr/>
          <p:nvPr/>
        </p:nvCxnSpPr>
        <p:spPr>
          <a:xfrm>
            <a:off x="2741047" y="1148718"/>
            <a:ext cx="0" cy="479789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Прямая соединительная линия 199"/>
          <p:cNvCxnSpPr/>
          <p:nvPr/>
        </p:nvCxnSpPr>
        <p:spPr>
          <a:xfrm>
            <a:off x="3726161" y="1148718"/>
            <a:ext cx="0" cy="4800562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1" name="Прямая соединительная линия 200"/>
          <p:cNvCxnSpPr/>
          <p:nvPr/>
        </p:nvCxnSpPr>
        <p:spPr>
          <a:xfrm>
            <a:off x="4235710" y="1161127"/>
            <a:ext cx="0" cy="4772577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Прямая соединительная линия 201"/>
          <p:cNvCxnSpPr/>
          <p:nvPr/>
        </p:nvCxnSpPr>
        <p:spPr>
          <a:xfrm>
            <a:off x="4739766" y="1161127"/>
            <a:ext cx="0" cy="4800562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Прямая соединительная линия 203"/>
          <p:cNvCxnSpPr/>
          <p:nvPr/>
        </p:nvCxnSpPr>
        <p:spPr>
          <a:xfrm>
            <a:off x="5295726" y="1148718"/>
            <a:ext cx="0" cy="4800562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444" name="Группа 11443"/>
          <p:cNvGrpSpPr/>
          <p:nvPr/>
        </p:nvGrpSpPr>
        <p:grpSpPr>
          <a:xfrm>
            <a:off x="3954817" y="2781889"/>
            <a:ext cx="378296" cy="280988"/>
            <a:chOff x="10722682" y="4156124"/>
            <a:chExt cx="378296" cy="280988"/>
          </a:xfrm>
        </p:grpSpPr>
        <p:sp>
          <p:nvSpPr>
            <p:cNvPr id="223" name="Овал 222"/>
            <p:cNvSpPr/>
            <p:nvPr/>
          </p:nvSpPr>
          <p:spPr>
            <a:xfrm>
              <a:off x="10722682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4" name="TextBox 223"/>
            <p:cNvSpPr txBox="1"/>
            <p:nvPr/>
          </p:nvSpPr>
          <p:spPr>
            <a:xfrm>
              <a:off x="10740938" y="418384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1247180" y="5191333"/>
            <a:ext cx="360040" cy="283063"/>
            <a:chOff x="-2772816" y="3396406"/>
            <a:chExt cx="360040" cy="283063"/>
          </a:xfrm>
        </p:grpSpPr>
        <p:sp>
          <p:nvSpPr>
            <p:cNvPr id="257" name="Овал 256"/>
            <p:cNvSpPr/>
            <p:nvPr/>
          </p:nvSpPr>
          <p:spPr>
            <a:xfrm>
              <a:off x="-2742815" y="3396406"/>
              <a:ext cx="300037" cy="280988"/>
            </a:xfrm>
            <a:prstGeom prst="ellipse">
              <a:avLst/>
            </a:prstGeom>
            <a:solidFill>
              <a:srgbClr val="0070C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-2772816" y="3433248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1438673" y="4255207"/>
            <a:ext cx="360040" cy="280988"/>
            <a:chOff x="10116616" y="3940100"/>
            <a:chExt cx="360040" cy="280988"/>
          </a:xfrm>
        </p:grpSpPr>
        <p:sp>
          <p:nvSpPr>
            <p:cNvPr id="123" name="Овал 122"/>
            <p:cNvSpPr/>
            <p:nvPr/>
          </p:nvSpPr>
          <p:spPr>
            <a:xfrm>
              <a:off x="10146618" y="3940100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10116616" y="3967816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1187556" y="4244875"/>
            <a:ext cx="360040" cy="280988"/>
            <a:chOff x="9828584" y="4099514"/>
            <a:chExt cx="360040" cy="280988"/>
          </a:xfrm>
        </p:grpSpPr>
        <p:sp>
          <p:nvSpPr>
            <p:cNvPr id="126" name="Овал 125"/>
            <p:cNvSpPr/>
            <p:nvPr/>
          </p:nvSpPr>
          <p:spPr>
            <a:xfrm>
              <a:off x="9858586" y="409951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9828584" y="412723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1868781" y="4075301"/>
            <a:ext cx="360040" cy="280988"/>
            <a:chOff x="10260632" y="4012108"/>
            <a:chExt cx="360040" cy="280988"/>
          </a:xfrm>
        </p:grpSpPr>
        <p:sp>
          <p:nvSpPr>
            <p:cNvPr id="138" name="Овал 137"/>
            <p:cNvSpPr/>
            <p:nvPr/>
          </p:nvSpPr>
          <p:spPr>
            <a:xfrm>
              <a:off x="10290634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TextBox 138"/>
            <p:cNvSpPr txBox="1"/>
            <p:nvPr/>
          </p:nvSpPr>
          <p:spPr>
            <a:xfrm>
              <a:off x="10260632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201012" y="4936623"/>
            <a:ext cx="360040" cy="280988"/>
            <a:chOff x="-1036659" y="3169955"/>
            <a:chExt cx="360040" cy="280988"/>
          </a:xfrm>
        </p:grpSpPr>
        <p:sp>
          <p:nvSpPr>
            <p:cNvPr id="216" name="Овал 215"/>
            <p:cNvSpPr/>
            <p:nvPr/>
          </p:nvSpPr>
          <p:spPr>
            <a:xfrm>
              <a:off x="-1008620" y="3169955"/>
              <a:ext cx="300037" cy="280988"/>
            </a:xfrm>
            <a:prstGeom prst="ellipse">
              <a:avLst/>
            </a:prstGeom>
            <a:solidFill>
              <a:srgbClr val="0070C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-1036659" y="3200995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" name="Группа 28"/>
          <p:cNvGrpSpPr/>
          <p:nvPr/>
        </p:nvGrpSpPr>
        <p:grpSpPr>
          <a:xfrm>
            <a:off x="3701523" y="3194102"/>
            <a:ext cx="360040" cy="280988"/>
            <a:chOff x="10260632" y="4012108"/>
            <a:chExt cx="360040" cy="280988"/>
          </a:xfrm>
        </p:grpSpPr>
        <p:sp>
          <p:nvSpPr>
            <p:cNvPr id="168" name="Овал 167"/>
            <p:cNvSpPr/>
            <p:nvPr/>
          </p:nvSpPr>
          <p:spPr>
            <a:xfrm>
              <a:off x="10290634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10260632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442" name="Группа 11441"/>
          <p:cNvGrpSpPr/>
          <p:nvPr/>
        </p:nvGrpSpPr>
        <p:grpSpPr>
          <a:xfrm>
            <a:off x="5137869" y="1366935"/>
            <a:ext cx="366421" cy="280988"/>
            <a:chOff x="10794690" y="4156124"/>
            <a:chExt cx="366421" cy="280988"/>
          </a:xfrm>
        </p:grpSpPr>
        <p:sp>
          <p:nvSpPr>
            <p:cNvPr id="217" name="Овал 216"/>
            <p:cNvSpPr/>
            <p:nvPr/>
          </p:nvSpPr>
          <p:spPr>
            <a:xfrm>
              <a:off x="10794690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8" name="TextBox 217"/>
            <p:cNvSpPr txBox="1"/>
            <p:nvPr/>
          </p:nvSpPr>
          <p:spPr>
            <a:xfrm>
              <a:off x="10801071" y="418384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8" name="Группа 47"/>
          <p:cNvGrpSpPr/>
          <p:nvPr/>
        </p:nvGrpSpPr>
        <p:grpSpPr>
          <a:xfrm>
            <a:off x="3439064" y="4563668"/>
            <a:ext cx="360040" cy="286568"/>
            <a:chOff x="10260632" y="4156124"/>
            <a:chExt cx="360040" cy="280988"/>
          </a:xfrm>
        </p:grpSpPr>
        <p:sp>
          <p:nvSpPr>
            <p:cNvPr id="260" name="Овал 259"/>
            <p:cNvSpPr/>
            <p:nvPr/>
          </p:nvSpPr>
          <p:spPr>
            <a:xfrm>
              <a:off x="10290634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10260632" y="4183844"/>
              <a:ext cx="360040" cy="2462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" name="Прямоугольник 39"/>
          <p:cNvSpPr/>
          <p:nvPr/>
        </p:nvSpPr>
        <p:spPr>
          <a:xfrm>
            <a:off x="6141192" y="2102659"/>
            <a:ext cx="222689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еречень тем 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– в </a:t>
            </a:r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и</a:t>
            </a:r>
            <a:endParaRPr lang="ru-RU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2" name="Группа 211"/>
          <p:cNvGrpSpPr/>
          <p:nvPr/>
        </p:nvGrpSpPr>
        <p:grpSpPr>
          <a:xfrm>
            <a:off x="3443622" y="2673146"/>
            <a:ext cx="360040" cy="280988"/>
            <a:chOff x="9972600" y="4084116"/>
            <a:chExt cx="360040" cy="280988"/>
          </a:xfrm>
        </p:grpSpPr>
        <p:sp>
          <p:nvSpPr>
            <p:cNvPr id="213" name="Овал 212"/>
            <p:cNvSpPr/>
            <p:nvPr/>
          </p:nvSpPr>
          <p:spPr>
            <a:xfrm>
              <a:off x="10002602" y="4084116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4" name="TextBox 213"/>
            <p:cNvSpPr txBox="1"/>
            <p:nvPr/>
          </p:nvSpPr>
          <p:spPr>
            <a:xfrm>
              <a:off x="9972600" y="4111832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135" name="Группа 134"/>
          <p:cNvGrpSpPr/>
          <p:nvPr/>
        </p:nvGrpSpPr>
        <p:grpSpPr>
          <a:xfrm>
            <a:off x="4777829" y="1845239"/>
            <a:ext cx="360040" cy="280988"/>
            <a:chOff x="10692680" y="3868092"/>
            <a:chExt cx="360040" cy="280988"/>
          </a:xfrm>
        </p:grpSpPr>
        <p:sp>
          <p:nvSpPr>
            <p:cNvPr id="136" name="Овал 135"/>
            <p:cNvSpPr/>
            <p:nvPr/>
          </p:nvSpPr>
          <p:spPr>
            <a:xfrm>
              <a:off x="10722682" y="3868092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10692680" y="3885475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19" name="Прямая соединительная линия 118"/>
          <p:cNvCxnSpPr/>
          <p:nvPr/>
        </p:nvCxnSpPr>
        <p:spPr>
          <a:xfrm>
            <a:off x="755575" y="5010046"/>
            <a:ext cx="511989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>
            <a:off x="1746681" y="1161127"/>
            <a:ext cx="0" cy="4761196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1432175" y="3855466"/>
            <a:ext cx="360040" cy="286509"/>
            <a:chOff x="10692680" y="3868092"/>
            <a:chExt cx="360040" cy="286509"/>
          </a:xfrm>
        </p:grpSpPr>
        <p:sp>
          <p:nvSpPr>
            <p:cNvPr id="128" name="Овал 127"/>
            <p:cNvSpPr/>
            <p:nvPr/>
          </p:nvSpPr>
          <p:spPr>
            <a:xfrm>
              <a:off x="10722682" y="3868092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10692680" y="390838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7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0" name="Прямоугольник 5"/>
          <p:cNvSpPr>
            <a:spLocks noChangeArrowheads="1"/>
          </p:cNvSpPr>
          <p:nvPr/>
        </p:nvSpPr>
        <p:spPr bwMode="auto">
          <a:xfrm>
            <a:off x="268338" y="3496095"/>
            <a:ext cx="68738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5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Прямоугольник 5"/>
          <p:cNvSpPr>
            <a:spLocks noChangeArrowheads="1"/>
          </p:cNvSpPr>
          <p:nvPr/>
        </p:nvSpPr>
        <p:spPr bwMode="auto">
          <a:xfrm>
            <a:off x="2883904" y="5973297"/>
            <a:ext cx="68738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5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0" name="Группа 139"/>
          <p:cNvGrpSpPr/>
          <p:nvPr/>
        </p:nvGrpSpPr>
        <p:grpSpPr>
          <a:xfrm>
            <a:off x="3315520" y="3630623"/>
            <a:ext cx="360040" cy="286568"/>
            <a:chOff x="10260632" y="4156124"/>
            <a:chExt cx="360040" cy="280988"/>
          </a:xfrm>
        </p:grpSpPr>
        <p:sp>
          <p:nvSpPr>
            <p:cNvPr id="141" name="Овал 140"/>
            <p:cNvSpPr/>
            <p:nvPr/>
          </p:nvSpPr>
          <p:spPr>
            <a:xfrm>
              <a:off x="10290634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TextBox 142"/>
            <p:cNvSpPr txBox="1"/>
            <p:nvPr/>
          </p:nvSpPr>
          <p:spPr>
            <a:xfrm>
              <a:off x="10260632" y="4183844"/>
              <a:ext cx="360040" cy="2462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9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0" name="Группа 149"/>
          <p:cNvGrpSpPr/>
          <p:nvPr/>
        </p:nvGrpSpPr>
        <p:grpSpPr>
          <a:xfrm>
            <a:off x="1943579" y="4745285"/>
            <a:ext cx="360040" cy="286568"/>
            <a:chOff x="10260632" y="4156124"/>
            <a:chExt cx="360040" cy="280988"/>
          </a:xfrm>
        </p:grpSpPr>
        <p:sp>
          <p:nvSpPr>
            <p:cNvPr id="151" name="Овал 150"/>
            <p:cNvSpPr/>
            <p:nvPr/>
          </p:nvSpPr>
          <p:spPr>
            <a:xfrm>
              <a:off x="10290634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10260632" y="4183844"/>
              <a:ext cx="360040" cy="2462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53" name="Прямая соединительная линия 152"/>
          <p:cNvCxnSpPr/>
          <p:nvPr/>
        </p:nvCxnSpPr>
        <p:spPr>
          <a:xfrm>
            <a:off x="765026" y="4553579"/>
            <a:ext cx="5082650" cy="4146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5" name="Группа 154"/>
          <p:cNvGrpSpPr/>
          <p:nvPr/>
        </p:nvGrpSpPr>
        <p:grpSpPr>
          <a:xfrm>
            <a:off x="2336536" y="3387474"/>
            <a:ext cx="360040" cy="280988"/>
            <a:chOff x="10260632" y="3796084"/>
            <a:chExt cx="360040" cy="280988"/>
          </a:xfrm>
        </p:grpSpPr>
        <p:sp>
          <p:nvSpPr>
            <p:cNvPr id="158" name="Овал 157"/>
            <p:cNvSpPr/>
            <p:nvPr/>
          </p:nvSpPr>
          <p:spPr>
            <a:xfrm>
              <a:off x="10290634" y="379608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10260632" y="382380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2" name="Группа 131"/>
          <p:cNvGrpSpPr/>
          <p:nvPr/>
        </p:nvGrpSpPr>
        <p:grpSpPr>
          <a:xfrm>
            <a:off x="1482416" y="4500625"/>
            <a:ext cx="378296" cy="280988"/>
            <a:chOff x="10650674" y="4156124"/>
            <a:chExt cx="378296" cy="280988"/>
          </a:xfrm>
        </p:grpSpPr>
        <p:sp>
          <p:nvSpPr>
            <p:cNvPr id="133" name="Овал 132"/>
            <p:cNvSpPr/>
            <p:nvPr/>
          </p:nvSpPr>
          <p:spPr>
            <a:xfrm>
              <a:off x="10650674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10668930" y="418384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0" name="Группа 159"/>
          <p:cNvGrpSpPr/>
          <p:nvPr/>
        </p:nvGrpSpPr>
        <p:grpSpPr>
          <a:xfrm>
            <a:off x="2230988" y="3755260"/>
            <a:ext cx="360040" cy="280988"/>
            <a:chOff x="9900592" y="3475993"/>
            <a:chExt cx="360040" cy="280988"/>
          </a:xfrm>
        </p:grpSpPr>
        <p:sp>
          <p:nvSpPr>
            <p:cNvPr id="161" name="Овал 160"/>
            <p:cNvSpPr/>
            <p:nvPr/>
          </p:nvSpPr>
          <p:spPr>
            <a:xfrm>
              <a:off x="9930594" y="3475993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9900592" y="3503709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3" name="Группа 162"/>
          <p:cNvGrpSpPr/>
          <p:nvPr/>
        </p:nvGrpSpPr>
        <p:grpSpPr>
          <a:xfrm>
            <a:off x="1924325" y="4501553"/>
            <a:ext cx="360040" cy="280988"/>
            <a:chOff x="9972600" y="3796084"/>
            <a:chExt cx="360040" cy="280988"/>
          </a:xfrm>
        </p:grpSpPr>
        <p:sp>
          <p:nvSpPr>
            <p:cNvPr id="165" name="Овал 164"/>
            <p:cNvSpPr/>
            <p:nvPr/>
          </p:nvSpPr>
          <p:spPr>
            <a:xfrm>
              <a:off x="10002602" y="379608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9972600" y="382380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7" name="Группа 166"/>
          <p:cNvGrpSpPr/>
          <p:nvPr/>
        </p:nvGrpSpPr>
        <p:grpSpPr>
          <a:xfrm>
            <a:off x="1465775" y="4988114"/>
            <a:ext cx="360040" cy="283063"/>
            <a:chOff x="-2772816" y="3396406"/>
            <a:chExt cx="360040" cy="283063"/>
          </a:xfrm>
        </p:grpSpPr>
        <p:sp>
          <p:nvSpPr>
            <p:cNvPr id="175" name="Овал 174"/>
            <p:cNvSpPr/>
            <p:nvPr/>
          </p:nvSpPr>
          <p:spPr>
            <a:xfrm>
              <a:off x="-2742815" y="3396406"/>
              <a:ext cx="300037" cy="280988"/>
            </a:xfrm>
            <a:prstGeom prst="ellipse">
              <a:avLst/>
            </a:prstGeom>
            <a:solidFill>
              <a:srgbClr val="0070C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-2772816" y="3433248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1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9" name="Группа 188"/>
          <p:cNvGrpSpPr/>
          <p:nvPr/>
        </p:nvGrpSpPr>
        <p:grpSpPr>
          <a:xfrm>
            <a:off x="2325804" y="4648103"/>
            <a:ext cx="360040" cy="280988"/>
            <a:chOff x="10188624" y="3475993"/>
            <a:chExt cx="360040" cy="280988"/>
          </a:xfrm>
        </p:grpSpPr>
        <p:sp>
          <p:nvSpPr>
            <p:cNvPr id="190" name="Овал 189"/>
            <p:cNvSpPr/>
            <p:nvPr/>
          </p:nvSpPr>
          <p:spPr>
            <a:xfrm>
              <a:off x="10218626" y="3475993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TextBox 192"/>
            <p:cNvSpPr txBox="1"/>
            <p:nvPr/>
          </p:nvSpPr>
          <p:spPr>
            <a:xfrm>
              <a:off x="10188624" y="3503709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2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5" name="Группа 194"/>
          <p:cNvGrpSpPr/>
          <p:nvPr/>
        </p:nvGrpSpPr>
        <p:grpSpPr>
          <a:xfrm>
            <a:off x="1914191" y="4272591"/>
            <a:ext cx="360040" cy="280988"/>
            <a:chOff x="10188624" y="3475993"/>
            <a:chExt cx="360040" cy="280988"/>
          </a:xfrm>
        </p:grpSpPr>
        <p:sp>
          <p:nvSpPr>
            <p:cNvPr id="203" name="Овал 202"/>
            <p:cNvSpPr/>
            <p:nvPr/>
          </p:nvSpPr>
          <p:spPr>
            <a:xfrm>
              <a:off x="10218626" y="3475993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10188624" y="3503709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9" name="Группа 208"/>
          <p:cNvGrpSpPr/>
          <p:nvPr/>
        </p:nvGrpSpPr>
        <p:grpSpPr>
          <a:xfrm>
            <a:off x="2336536" y="3161174"/>
            <a:ext cx="360040" cy="280988"/>
            <a:chOff x="10260632" y="4012108"/>
            <a:chExt cx="360040" cy="280988"/>
          </a:xfrm>
        </p:grpSpPr>
        <p:sp>
          <p:nvSpPr>
            <p:cNvPr id="210" name="Овал 209"/>
            <p:cNvSpPr/>
            <p:nvPr/>
          </p:nvSpPr>
          <p:spPr>
            <a:xfrm>
              <a:off x="10290634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1" name="TextBox 210"/>
            <p:cNvSpPr txBox="1"/>
            <p:nvPr/>
          </p:nvSpPr>
          <p:spPr>
            <a:xfrm>
              <a:off x="10260632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15" name="Прямая соединительная линия 214"/>
          <p:cNvCxnSpPr/>
          <p:nvPr/>
        </p:nvCxnSpPr>
        <p:spPr>
          <a:xfrm>
            <a:off x="2254364" y="1136619"/>
            <a:ext cx="0" cy="4797085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2" name="Группа 221"/>
          <p:cNvGrpSpPr/>
          <p:nvPr/>
        </p:nvGrpSpPr>
        <p:grpSpPr>
          <a:xfrm>
            <a:off x="2669791" y="4317110"/>
            <a:ext cx="360040" cy="280988"/>
            <a:chOff x="10260632" y="4012108"/>
            <a:chExt cx="360040" cy="280988"/>
          </a:xfrm>
        </p:grpSpPr>
        <p:sp>
          <p:nvSpPr>
            <p:cNvPr id="225" name="Овал 224"/>
            <p:cNvSpPr/>
            <p:nvPr/>
          </p:nvSpPr>
          <p:spPr>
            <a:xfrm>
              <a:off x="10290634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6" name="TextBox 225"/>
            <p:cNvSpPr txBox="1"/>
            <p:nvPr/>
          </p:nvSpPr>
          <p:spPr>
            <a:xfrm>
              <a:off x="10260632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9" name="Группа 148"/>
          <p:cNvGrpSpPr/>
          <p:nvPr/>
        </p:nvGrpSpPr>
        <p:grpSpPr>
          <a:xfrm>
            <a:off x="1216556" y="4947187"/>
            <a:ext cx="360040" cy="280988"/>
            <a:chOff x="10875211" y="4012108"/>
            <a:chExt cx="360040" cy="280988"/>
          </a:xfrm>
        </p:grpSpPr>
        <p:sp>
          <p:nvSpPr>
            <p:cNvPr id="154" name="Овал 153"/>
            <p:cNvSpPr/>
            <p:nvPr/>
          </p:nvSpPr>
          <p:spPr>
            <a:xfrm>
              <a:off x="10905213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10875211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7" name="Группа 156"/>
          <p:cNvGrpSpPr/>
          <p:nvPr/>
        </p:nvGrpSpPr>
        <p:grpSpPr>
          <a:xfrm>
            <a:off x="1465774" y="4988114"/>
            <a:ext cx="360040" cy="280988"/>
            <a:chOff x="10875211" y="4012108"/>
            <a:chExt cx="360040" cy="280988"/>
          </a:xfrm>
        </p:grpSpPr>
        <p:sp>
          <p:nvSpPr>
            <p:cNvPr id="170" name="Овал 169"/>
            <p:cNvSpPr/>
            <p:nvPr/>
          </p:nvSpPr>
          <p:spPr>
            <a:xfrm>
              <a:off x="10905213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TextBox 180"/>
            <p:cNvSpPr txBox="1"/>
            <p:nvPr/>
          </p:nvSpPr>
          <p:spPr>
            <a:xfrm>
              <a:off x="10875211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198" name="Группа 197"/>
          <p:cNvGrpSpPr/>
          <p:nvPr/>
        </p:nvGrpSpPr>
        <p:grpSpPr>
          <a:xfrm>
            <a:off x="1247180" y="5193408"/>
            <a:ext cx="360040" cy="280988"/>
            <a:chOff x="10875211" y="4012108"/>
            <a:chExt cx="360040" cy="280988"/>
          </a:xfrm>
        </p:grpSpPr>
        <p:sp>
          <p:nvSpPr>
            <p:cNvPr id="206" name="Овал 205"/>
            <p:cNvSpPr/>
            <p:nvPr/>
          </p:nvSpPr>
          <p:spPr>
            <a:xfrm>
              <a:off x="10905213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TextBox 206"/>
            <p:cNvSpPr txBox="1"/>
            <p:nvPr/>
          </p:nvSpPr>
          <p:spPr>
            <a:xfrm>
              <a:off x="10875211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8" name="Содержимое 2"/>
          <p:cNvSpPr txBox="1">
            <a:spLocks/>
          </p:cNvSpPr>
          <p:nvPr/>
        </p:nvSpPr>
        <p:spPr bwMode="auto">
          <a:xfrm>
            <a:off x="2875998" y="6346435"/>
            <a:ext cx="5256584" cy="4766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algn="just"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tabLst>
                <a:tab pos="449263" algn="l"/>
              </a:tabLst>
            </a:pPr>
            <a:r>
              <a:rPr lang="ru-RU" sz="1100" kern="0" dirty="0">
                <a:solidFill>
                  <a:schemeClr val="accent4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* </a:t>
            </a:r>
            <a:r>
              <a:rPr lang="ru-RU" sz="1100" kern="0" dirty="0" smtClean="0">
                <a:solidFill>
                  <a:schemeClr val="accent4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Актуализирована в ноябре 2017 года</a:t>
            </a:r>
            <a:endParaRPr lang="en-US" sz="1100" kern="0" dirty="0">
              <a:solidFill>
                <a:schemeClr val="accent4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КАРТА СУЩЕСТВЕННЫХ ТЕМ*</a:t>
            </a:r>
          </a:p>
        </p:txBody>
      </p:sp>
      <p:sp>
        <p:nvSpPr>
          <p:cNvPr id="148" name="Объект 3"/>
          <p:cNvSpPr>
            <a:spLocks noGrp="1"/>
          </p:cNvSpPr>
          <p:nvPr>
            <p:ph idx="4294967295"/>
          </p:nvPr>
        </p:nvSpPr>
        <p:spPr>
          <a:xfrm>
            <a:off x="3056946" y="6399372"/>
            <a:ext cx="5184576" cy="42373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ru-RU" sz="1200" dirty="0" smtClean="0">
                <a:solidFill>
                  <a:srgbClr val="6D6E71"/>
                </a:solidFill>
              </a:rPr>
              <a:t>ПЕРЕЧЕНЬ ТЕМ</a:t>
            </a:r>
            <a:endParaRPr lang="ru-RU" sz="1200" dirty="0">
              <a:solidFill>
                <a:srgbClr val="6D6E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0251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/>
              <a:t>СТРУКТУРА ОТЧЕТА </a:t>
            </a:r>
            <a:r>
              <a:rPr lang="ru-RU" dirty="0" smtClean="0"/>
              <a:t>(1 </a:t>
            </a:r>
            <a:r>
              <a:rPr lang="ru-RU" dirty="0"/>
              <a:t>из 4)</a:t>
            </a:r>
          </a:p>
          <a:p>
            <a:endParaRPr lang="ru-RU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9213116"/>
              </p:ext>
            </p:extLst>
          </p:nvPr>
        </p:nvGraphicFramePr>
        <p:xfrm>
          <a:off x="357648" y="1052735"/>
          <a:ext cx="8678848" cy="48100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81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65230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65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31183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пект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пект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9486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кономическая результативность и финансовое состояние</a:t>
                      </a:r>
                    </a:p>
                  </a:txBody>
                  <a:tcPr marL="7456" marR="7456" marT="7456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дровый соста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сутствие на рынках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овия и организация труд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мерческая деятельность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доровье и безопасность на рабочем месте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вестиционная деятельность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ь персонал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9486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зультаты производственной деятельности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спроизводство кадро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чество и безопасность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действие на регионы присутств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9486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птимизация производственной деятельности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тикоррупционные практик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упочная деятельность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блюдение законодательств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новационное развитие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ркетинговые и </a:t>
                      </a:r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-</a:t>
                      </a:r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уникаци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учная деятельность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ятельность органов корпоративного управлен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4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ыбросы и отходы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ий контроль, аудит и управление рискам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ологический менеджмент</a:t>
                      </a:r>
                      <a:endParaRPr lang="ru-RU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ПЕРЕЧЕНЬ </a:t>
            </a:r>
            <a:r>
              <a:rPr lang="ru-RU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ТЕМ</a:t>
            </a:r>
            <a:endParaRPr lang="ru-RU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5391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РАТКО О КОМПАНИИ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ЛЮЧЕВЫЕ ПОКАЗАТЕЛИ 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2018 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ГОДА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ЛЮЧЕВЫЕ СОБЫТИЯ 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2018 ГОДА 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ОБРАЩЕНИЕ РУКОВОДИТЕЛЕЙ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</a:t>
            </a: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БИЗНЕС-МОДЕЛЬ И СТРАТЕГИЯ РАЗВИТИЯ 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ОМПАНИИ</a:t>
            </a:r>
            <a:endParaRPr lang="ru-RU" altLang="ja-JP" b="1" kern="1200" dirty="0">
              <a:solidFill>
                <a:prstClr val="black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355600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1.1.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Рынки присутствия</a:t>
            </a:r>
          </a:p>
          <a:p>
            <a:pPr marL="35560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1.2. Конкурентные преимущества Компании </a:t>
            </a:r>
            <a:endParaRPr lang="ru-RU" altLang="ja-JP" sz="1100" i="1" kern="1200" dirty="0" smtClean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35560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1.3.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Стратегия деятельности</a:t>
            </a:r>
          </a:p>
          <a:p>
            <a:pPr marL="35560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1.4. Бизнес-модель </a:t>
            </a:r>
          </a:p>
          <a:p>
            <a:pPr marL="35560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1.5.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Устойчивое развитие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Компании</a:t>
            </a:r>
            <a:endParaRPr lang="ru-RU" altLang="ja-JP" sz="1100" i="1" kern="1200" dirty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</a:t>
            </a: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II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</a:t>
            </a: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ФИНАНСОВО-ЭКОНОМИЧЕСКАЯ 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ДЕЯТЕЛЬНОСТЬ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2.1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Экономическая результативность и финансовое состояние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2.2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Коммерческая деятельность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2.3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Инвестиционная деятельность </a:t>
            </a:r>
          </a:p>
          <a:p>
            <a:pPr marL="355600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/>
              <a:t>СТРУКТУРА ОТЧЕТА </a:t>
            </a:r>
            <a:r>
              <a:rPr lang="ru-RU" dirty="0" smtClean="0"/>
              <a:t>(2 </a:t>
            </a:r>
            <a:r>
              <a:rPr lang="ru-RU" dirty="0"/>
              <a:t>из 4)</a:t>
            </a:r>
          </a:p>
          <a:p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СТРУКТУРА ОТЧЕТА (1 из 4)</a:t>
            </a:r>
            <a:b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0194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II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ПРОИЗВОДСТВЕННАЯ 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ДЕЯТЕЛЬНОСТЬ</a:t>
            </a:r>
          </a:p>
          <a:p>
            <a:pPr marL="534988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3.1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Результаты производственной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деятельности </a:t>
            </a:r>
          </a:p>
          <a:p>
            <a:pPr marL="534988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3.2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Качество и промышленная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безопасность</a:t>
            </a:r>
            <a:endParaRPr lang="en-US" altLang="ja-JP" sz="1100" i="1" kern="1200" dirty="0" smtClean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3</a:t>
            </a:r>
            <a:r>
              <a:rPr lang="en-US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3</a:t>
            </a:r>
            <a:r>
              <a:rPr lang="en-US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Оптимизация производственных процессов</a:t>
            </a:r>
            <a:endParaRPr lang="ru-RU" altLang="ja-JP" sz="1100" i="1" kern="1200" dirty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3.4.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Закупочная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деятельность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V. 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ОРПОРАТИВНОЕ УПРАВЛЕНИЕ</a:t>
            </a:r>
          </a:p>
          <a:p>
            <a:pPr marL="355600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534988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</a:t>
            </a:r>
            <a:r>
              <a:rPr lang="en-US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4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1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Система корпоративного управления</a:t>
            </a:r>
          </a:p>
          <a:p>
            <a:pPr marL="355600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534988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</a:t>
            </a:r>
            <a:r>
              <a:rPr lang="en-US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4.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2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Этика и антикоррупционные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практики</a:t>
            </a:r>
          </a:p>
          <a:p>
            <a:pPr marL="179388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534988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</a:t>
            </a:r>
            <a:r>
              <a:rPr lang="en-US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4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3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Внутренний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контроль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,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аудит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и управление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рисками</a:t>
            </a:r>
          </a:p>
          <a:p>
            <a:pPr marL="179388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534988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</a:t>
            </a:r>
            <a:r>
              <a:rPr lang="en-US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4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4.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Соблюдение законодательства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V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ИННОВАЦИОННАЯ ДЕЯТЕЛЬНОСТЬ</a:t>
            </a:r>
          </a:p>
          <a:p>
            <a:pPr marL="534988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5.1.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Научная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деятельность </a:t>
            </a:r>
            <a:endParaRPr lang="ru-RU" altLang="ja-JP" sz="1100" kern="1200" dirty="0">
              <a:solidFill>
                <a:srgbClr val="7030A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5.2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Инновационное развитие</a:t>
            </a:r>
            <a:endParaRPr lang="ru-RU" altLang="ja-JP" kern="1200" dirty="0">
              <a:solidFill>
                <a:srgbClr val="7030A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/>
              <a:t>СТРУКТУРА ОТЧЕТА </a:t>
            </a:r>
            <a:r>
              <a:rPr lang="ru-RU" dirty="0" smtClean="0"/>
              <a:t>(3 </a:t>
            </a:r>
            <a:r>
              <a:rPr lang="ru-RU" dirty="0"/>
              <a:t>из 4)</a:t>
            </a:r>
          </a:p>
          <a:p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СТРУКТУРА ОТЧЕТА </a:t>
            </a:r>
            <a:r>
              <a:rPr lang="ru-RU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(2 </a:t>
            </a:r>
            <a: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  <a:t>из 4)</a:t>
            </a:r>
            <a:br>
              <a:rPr lang="ru-RU" sz="2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2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9392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SYzAiPrUiqxPM0y_7O7w"/>
</p:tagLst>
</file>

<file path=ppt/theme/theme1.xml><?xml version="1.0" encoding="utf-8"?>
<a:theme xmlns:a="http://schemas.openxmlformats.org/drawingml/2006/main" name="AEM_2016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EM_2016</Template>
  <TotalTime>15875</TotalTime>
  <Words>1857</Words>
  <Application>Microsoft Office PowerPoint</Application>
  <PresentationFormat>Экран (4:3)</PresentationFormat>
  <Paragraphs>390</Paragraphs>
  <Slides>16</Slides>
  <Notes>7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7" baseType="lpstr">
      <vt:lpstr>AEM_2016</vt:lpstr>
      <vt:lpstr>Концепция  интегрированного годового отчета АО «Атомэнергомаш» за 2018 год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Karandas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nop</dc:creator>
  <cp:lastModifiedBy>Бурлака Игорь Олегович</cp:lastModifiedBy>
  <cp:revision>321</cp:revision>
  <cp:lastPrinted>2018-11-08T09:54:35Z</cp:lastPrinted>
  <dcterms:created xsi:type="dcterms:W3CDTF">2016-01-26T23:12:11Z</dcterms:created>
  <dcterms:modified xsi:type="dcterms:W3CDTF">2019-01-15T09:32:27Z</dcterms:modified>
</cp:coreProperties>
</file>